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9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2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3.xml" ContentType="application/vnd.openxmlformats-officedocument.presentationml.notesSlide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91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20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4.xml" ContentType="application/vnd.openxmlformats-officedocument.presentationml.notesSlide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6.xml" ContentType="application/vnd.openxmlformats-officedocument.presentationml.notesSlide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27.xml" ContentType="application/vnd.openxmlformats-officedocument.presentationml.notesSlide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30.xml" ContentType="application/vnd.openxmlformats-officedocument.presentationml.notesSlide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31.xml" ContentType="application/vnd.openxmlformats-officedocument.presentationml.notesSlide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32.xml" ContentType="application/vnd.openxmlformats-officedocument.presentationml.notesSlide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33.xml" ContentType="application/vnd.openxmlformats-officedocument.presentationml.notesSlide+xml"/>
  <Override PartName="/ppt/diagrams/data51.xml" ContentType="application/vnd.openxmlformats-officedocument.drawingml.diagramData+xml"/>
  <Override PartName="/ppt/diagrams/layout51.xml" ContentType="application/vnd.openxmlformats-officedocument.drawingml.diagramLayout+xml"/>
  <Override PartName="/ppt/diagrams/quickStyle51.xml" ContentType="application/vnd.openxmlformats-officedocument.drawingml.diagramStyle+xml"/>
  <Override PartName="/ppt/diagrams/colors51.xml" ContentType="application/vnd.openxmlformats-officedocument.drawingml.diagramColors+xml"/>
  <Override PartName="/ppt/diagrams/drawing51.xml" ContentType="application/vnd.ms-office.drawingml.diagramDrawing+xml"/>
  <Override PartName="/ppt/diagrams/data52.xml" ContentType="application/vnd.openxmlformats-officedocument.drawingml.diagramData+xml"/>
  <Override PartName="/ppt/diagrams/layout52.xml" ContentType="application/vnd.openxmlformats-officedocument.drawingml.diagramLayout+xml"/>
  <Override PartName="/ppt/diagrams/quickStyle52.xml" ContentType="application/vnd.openxmlformats-officedocument.drawingml.diagramStyle+xml"/>
  <Override PartName="/ppt/diagrams/colors52.xml" ContentType="application/vnd.openxmlformats-officedocument.drawingml.diagramColors+xml"/>
  <Override PartName="/ppt/diagrams/drawing52.xml" ContentType="application/vnd.ms-office.drawingml.diagramDrawing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sldIdLst>
    <p:sldId id="258" r:id="rId2"/>
    <p:sldId id="257" r:id="rId3"/>
    <p:sldId id="261" r:id="rId4"/>
    <p:sldId id="277" r:id="rId5"/>
    <p:sldId id="279" r:id="rId6"/>
    <p:sldId id="278" r:id="rId7"/>
    <p:sldId id="272" r:id="rId8"/>
    <p:sldId id="273" r:id="rId9"/>
    <p:sldId id="280" r:id="rId10"/>
    <p:sldId id="281" r:id="rId11"/>
    <p:sldId id="282" r:id="rId12"/>
    <p:sldId id="283" r:id="rId13"/>
    <p:sldId id="284" r:id="rId14"/>
    <p:sldId id="285" r:id="rId15"/>
    <p:sldId id="286" r:id="rId16"/>
    <p:sldId id="287" r:id="rId17"/>
    <p:sldId id="288" r:id="rId18"/>
    <p:sldId id="289" r:id="rId19"/>
    <p:sldId id="290" r:id="rId20"/>
    <p:sldId id="291" r:id="rId21"/>
    <p:sldId id="292" r:id="rId22"/>
    <p:sldId id="293" r:id="rId23"/>
    <p:sldId id="294" r:id="rId24"/>
    <p:sldId id="295" r:id="rId25"/>
    <p:sldId id="296" r:id="rId26"/>
    <p:sldId id="297" r:id="rId27"/>
    <p:sldId id="298" r:id="rId28"/>
    <p:sldId id="299" r:id="rId29"/>
    <p:sldId id="300" r:id="rId30"/>
    <p:sldId id="301" r:id="rId31"/>
    <p:sldId id="302" r:id="rId32"/>
    <p:sldId id="303" r:id="rId33"/>
    <p:sldId id="304" r:id="rId34"/>
    <p:sldId id="305" r:id="rId35"/>
    <p:sldId id="306" r:id="rId36"/>
  </p:sldIdLst>
  <p:sldSz cx="9144000" cy="6858000" type="screen4x3"/>
  <p:notesSz cx="6858000" cy="9144000"/>
  <p:custDataLst>
    <p:tags r:id="rId38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34" y="132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  <a:r>
            <a:rPr lang="es-CO" sz="2700" dirty="0"/>
            <a:t> 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000" dirty="0"/>
            <a:t>Construcción Segunda Calzada: 90 km 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D66F119-4BAE-4C79-911C-BC0721EE846F}">
      <dgm:prSet phldrT="[Texto]" custT="1"/>
      <dgm:spPr/>
      <dgm:t>
        <a:bodyPr/>
        <a:lstStyle/>
        <a:p>
          <a:r>
            <a:rPr lang="es-CO" sz="2000" dirty="0"/>
            <a:t>Mejoramiento: 37,51 km</a:t>
          </a:r>
        </a:p>
      </dgm:t>
    </dgm:pt>
    <dgm:pt modelId="{F682A174-FDE9-42B0-868B-DC03E551265E}" type="parTrans" cxnId="{47EBDB42-7505-4A7E-A352-1070BBC7E76B}">
      <dgm:prSet/>
      <dgm:spPr/>
      <dgm:t>
        <a:bodyPr/>
        <a:lstStyle/>
        <a:p>
          <a:endParaRPr lang="es-CO"/>
        </a:p>
      </dgm:t>
    </dgm:pt>
    <dgm:pt modelId="{181BCAE3-D1F8-4C81-AA09-09AA92745C84}" type="sibTrans" cxnId="{47EBDB42-7505-4A7E-A352-1070BBC7E76B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0" custLinFactNeighborY="205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DF48162-8660-4DE8-A02F-2676CE553B2B}" type="presOf" srcId="{3256AD19-79D9-4DD2-BD85-48D74080CB17}" destId="{FFC2669E-6EFE-4306-9BF4-0E6FE39D4B43}" srcOrd="0" destOrd="0" presId="urn:microsoft.com/office/officeart/2005/8/layout/hList1"/>
    <dgm:cxn modelId="{1F8B5D54-BFC9-43DB-9CF8-457FDA12B7BC}" type="presOf" srcId="{CF84DDC2-96BF-432F-AA37-B7281110F630}" destId="{351DADD5-826D-416B-84E5-26678C386891}" srcOrd="0" destOrd="0" presId="urn:microsoft.com/office/officeart/2005/8/layout/hList1"/>
    <dgm:cxn modelId="{A53B8BC7-FACD-4E17-8459-E1AC4825BB84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C95B0C5C-517B-41D5-BACB-B97D090B2856}" type="presOf" srcId="{8D66F119-4BAE-4C79-911C-BC0721EE846F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7EBDB42-7505-4A7E-A352-1070BBC7E76B}" srcId="{3256AD19-79D9-4DD2-BD85-48D74080CB17}" destId="{8D66F119-4BAE-4C79-911C-BC0721EE846F}" srcOrd="1" destOrd="0" parTransId="{F682A174-FDE9-42B0-868B-DC03E551265E}" sibTransId="{181BCAE3-D1F8-4C81-AA09-09AA92745C84}"/>
    <dgm:cxn modelId="{6DFABBE4-7BD7-4AA1-9AD7-3B77D11B3DD9}" type="presParOf" srcId="{351DADD5-826D-416B-84E5-26678C386891}" destId="{78A07495-0AF3-45E3-8386-C0DF5FF5E438}" srcOrd="0" destOrd="0" presId="urn:microsoft.com/office/officeart/2005/8/layout/hList1"/>
    <dgm:cxn modelId="{6117DED9-9FE3-47D3-911F-16F0968410D1}" type="presParOf" srcId="{78A07495-0AF3-45E3-8386-C0DF5FF5E438}" destId="{FFC2669E-6EFE-4306-9BF4-0E6FE39D4B43}" srcOrd="0" destOrd="0" presId="urn:microsoft.com/office/officeart/2005/8/layout/hList1"/>
    <dgm:cxn modelId="{149A21F0-B5CD-4862-ACF4-DCEC711CA1B5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0,25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6945" custLinFactNeighborY="-897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5A7F6BC-D300-4976-A696-9CC1BD0E0E28}" type="presOf" srcId="{62D32E80-FEA0-48C5-B4F3-D3A7B382CF4D}" destId="{AB09D624-FF1B-4987-8110-30D214096F41}" srcOrd="0" destOrd="0" presId="urn:microsoft.com/office/officeart/2005/8/layout/hList1"/>
    <dgm:cxn modelId="{3C3AD383-044B-4673-8591-4CAFB4847163}" type="presOf" srcId="{CF84DDC2-96BF-432F-AA37-B7281110F630}" destId="{351DADD5-826D-416B-84E5-26678C386891}" srcOrd="0" destOrd="0" presId="urn:microsoft.com/office/officeart/2005/8/layout/hList1"/>
    <dgm:cxn modelId="{38896663-2917-42BC-AC94-3E612AC45C4A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104CA4DF-BE6B-4C53-A943-2C90572324C9}" type="presParOf" srcId="{351DADD5-826D-416B-84E5-26678C386891}" destId="{78A07495-0AF3-45E3-8386-C0DF5FF5E438}" srcOrd="0" destOrd="0" presId="urn:microsoft.com/office/officeart/2005/8/layout/hList1"/>
    <dgm:cxn modelId="{0212074E-CEE9-4CF8-A841-46A24DFDF9D2}" type="presParOf" srcId="{78A07495-0AF3-45E3-8386-C0DF5FF5E438}" destId="{FFC2669E-6EFE-4306-9BF4-0E6FE39D4B43}" srcOrd="0" destOrd="0" presId="urn:microsoft.com/office/officeart/2005/8/layout/hList1"/>
    <dgm:cxn modelId="{5DBA3ADE-ABA8-41DB-ABBF-BEB30C1DF74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Entrega estudios y diseños por el Concesionario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9D725FB9-9A93-4599-B80E-F88D7CACD18E}">
      <dgm:prSet phldrT="[Texto]"/>
      <dgm:spPr/>
      <dgm:t>
        <a:bodyPr/>
        <a:lstStyle/>
        <a:p>
          <a:r>
            <a:rPr lang="es-CO" dirty="0" smtClean="0"/>
            <a:t>Licenciamiento ambiental – Se entregará el EIA el 3 de junio de 2016 para revisión de la Interventoría</a:t>
          </a:r>
          <a:endParaRPr lang="es-CO" dirty="0"/>
        </a:p>
      </dgm:t>
    </dgm:pt>
    <dgm:pt modelId="{4354F5F0-35E3-4FFF-A0EA-8FE5A8B68CE7}" type="parTrans" cxnId="{72C212E8-B239-44F0-8820-38A0E881D733}">
      <dgm:prSet/>
      <dgm:spPr/>
      <dgm:t>
        <a:bodyPr/>
        <a:lstStyle/>
        <a:p>
          <a:endParaRPr lang="es-CO"/>
        </a:p>
      </dgm:t>
    </dgm:pt>
    <dgm:pt modelId="{396B79E0-9B72-4E18-A4F6-0CB4835BA3B8}" type="sibTrans" cxnId="{72C212E8-B239-44F0-8820-38A0E881D733}">
      <dgm:prSet/>
      <dgm:spPr/>
      <dgm:t>
        <a:bodyPr/>
        <a:lstStyle/>
        <a:p>
          <a:endParaRPr lang="es-CO"/>
        </a:p>
      </dgm:t>
    </dgm:pt>
    <dgm:pt modelId="{BF0929D4-A013-4189-BDC5-9E2471DA65F3}">
      <dgm:prSet phldrT="[Texto]"/>
      <dgm:spPr/>
      <dgm:t>
        <a:bodyPr/>
        <a:lstStyle/>
        <a:p>
          <a:r>
            <a:rPr lang="es-CO" dirty="0" smtClean="0"/>
            <a:t>Gestión predial y entrega plan de adquisición predial</a:t>
          </a:r>
          <a:endParaRPr lang="es-CO" dirty="0"/>
        </a:p>
      </dgm:t>
    </dgm:pt>
    <dgm:pt modelId="{42352C6E-4B28-466E-AA3B-08D6A3BB7A0F}" type="parTrans" cxnId="{9479CAA2-1EBC-49E6-83D8-CE2BD9BCF43D}">
      <dgm:prSet/>
      <dgm:spPr/>
      <dgm:t>
        <a:bodyPr/>
        <a:lstStyle/>
        <a:p>
          <a:endParaRPr lang="es-CO"/>
        </a:p>
      </dgm:t>
    </dgm:pt>
    <dgm:pt modelId="{479B86A9-2C19-436C-8CCB-01A492026A75}" type="sibTrans" cxnId="{9479CAA2-1EBC-49E6-83D8-CE2BD9BCF43D}">
      <dgm:prSet/>
      <dgm:spPr/>
      <dgm:t>
        <a:bodyPr/>
        <a:lstStyle/>
        <a:p>
          <a:endParaRPr lang="es-CO"/>
        </a:p>
      </dgm:t>
    </dgm:pt>
    <dgm:pt modelId="{71771455-A18B-4085-A249-C69E245C33F0}">
      <dgm:prSet phldrT="[Texto]"/>
      <dgm:spPr/>
      <dgm:t>
        <a:bodyPr/>
        <a:lstStyle/>
        <a:p>
          <a:r>
            <a:rPr lang="es-CO" dirty="0" smtClean="0"/>
            <a:t>Actividades de socialización del proyecto</a:t>
          </a:r>
          <a:endParaRPr lang="es-CO" dirty="0"/>
        </a:p>
      </dgm:t>
    </dgm:pt>
    <dgm:pt modelId="{E7D3EEEE-DAC4-40CA-BFD2-4B5AD19B65A2}" type="parTrans" cxnId="{B7311D12-5452-4D1E-8C08-8788DD06E1B6}">
      <dgm:prSet/>
      <dgm:spPr/>
      <dgm:t>
        <a:bodyPr/>
        <a:lstStyle/>
        <a:p>
          <a:endParaRPr lang="es-CO"/>
        </a:p>
      </dgm:t>
    </dgm:pt>
    <dgm:pt modelId="{B0CEBC57-E116-4703-9557-6D3D3FB7A89F}" type="sibTrans" cxnId="{B7311D12-5452-4D1E-8C08-8788DD06E1B6}">
      <dgm:prSet/>
      <dgm:spPr/>
      <dgm:t>
        <a:bodyPr/>
        <a:lstStyle/>
        <a:p>
          <a:endParaRPr lang="es-CO"/>
        </a:p>
      </dgm:t>
    </dgm:pt>
    <dgm:pt modelId="{B76B31A4-77A4-404A-AB7F-C851B07D07D3}">
      <dgm:prSet phldrT="[Texto]"/>
      <dgm:spPr/>
      <dgm:t>
        <a:bodyPr/>
        <a:lstStyle/>
        <a:p>
          <a:r>
            <a:rPr lang="es-CO" dirty="0" smtClean="0"/>
            <a:t>Entrega plan de obras</a:t>
          </a:r>
          <a:endParaRPr lang="es-CO" dirty="0"/>
        </a:p>
      </dgm:t>
    </dgm:pt>
    <dgm:pt modelId="{85541EB4-7FC3-49D1-A85E-F2235DF7FC08}" type="parTrans" cxnId="{FFE90CAD-6FF4-4D00-88CC-CC2FD56ADB4F}">
      <dgm:prSet/>
      <dgm:spPr/>
      <dgm:t>
        <a:bodyPr/>
        <a:lstStyle/>
        <a:p>
          <a:endParaRPr lang="es-CO"/>
        </a:p>
      </dgm:t>
    </dgm:pt>
    <dgm:pt modelId="{BB0B39CB-38CB-4DD0-9709-54CDD794666B}" type="sibTrans" cxnId="{FFE90CAD-6FF4-4D00-88CC-CC2FD56ADB4F}">
      <dgm:prSet/>
      <dgm:spPr/>
      <dgm:t>
        <a:bodyPr/>
        <a:lstStyle/>
        <a:p>
          <a:endParaRPr lang="es-CO"/>
        </a:p>
      </dgm:t>
    </dgm:pt>
    <dgm:pt modelId="{7C8DCF88-C619-4442-B8E5-020005E9618B}">
      <dgm:prSet phldrT="[Texto]"/>
      <dgm:spPr/>
      <dgm:t>
        <a:bodyPr/>
        <a:lstStyle/>
        <a:p>
          <a:r>
            <a:rPr lang="es-CO" dirty="0" smtClean="0"/>
            <a:t>Convenio con la POLCA </a:t>
          </a:r>
          <a:endParaRPr lang="es-CO" dirty="0"/>
        </a:p>
      </dgm:t>
    </dgm:pt>
    <dgm:pt modelId="{90B7CC27-EA8A-4BBE-A8B9-65EB367A0293}" type="parTrans" cxnId="{D2619949-EEAA-423B-B57E-FCEEE65295F2}">
      <dgm:prSet/>
      <dgm:spPr/>
      <dgm:t>
        <a:bodyPr/>
        <a:lstStyle/>
        <a:p>
          <a:endParaRPr lang="es-CO"/>
        </a:p>
      </dgm:t>
    </dgm:pt>
    <dgm:pt modelId="{7BD64ABD-F353-4919-9BCC-169D3D5E8942}" type="sibTrans" cxnId="{D2619949-EEAA-423B-B57E-FCEEE65295F2}">
      <dgm:prSet/>
      <dgm:spPr/>
      <dgm:t>
        <a:bodyPr/>
        <a:lstStyle/>
        <a:p>
          <a:endParaRPr lang="es-CO"/>
        </a:p>
      </dgm:t>
    </dgm:pt>
    <dgm:pt modelId="{1AD4B4A3-5113-45B9-9240-963954D82451}">
      <dgm:prSet phldrT="[Texto]"/>
      <dgm:spPr/>
      <dgm:t>
        <a:bodyPr/>
        <a:lstStyle/>
        <a:p>
          <a:r>
            <a:rPr lang="es-CO" dirty="0" smtClean="0"/>
            <a:t>Iniciar Fase de Construcción el 18 de septiembre de 2016</a:t>
          </a:r>
          <a:endParaRPr lang="es-CO" dirty="0"/>
        </a:p>
      </dgm:t>
    </dgm:pt>
    <dgm:pt modelId="{E505D5D5-E6D4-48B2-B82E-946838C02B59}" type="parTrans" cxnId="{EF278EBD-E603-4EC6-A238-3BA15B3F023A}">
      <dgm:prSet/>
      <dgm:spPr/>
      <dgm:t>
        <a:bodyPr/>
        <a:lstStyle/>
        <a:p>
          <a:endParaRPr lang="es-CO"/>
        </a:p>
      </dgm:t>
    </dgm:pt>
    <dgm:pt modelId="{7579C66B-919F-414C-AC90-10FC29820A95}" type="sibTrans" cxnId="{EF278EBD-E603-4EC6-A238-3BA15B3F023A}">
      <dgm:prSet/>
      <dgm:spPr/>
      <dgm:t>
        <a:bodyPr/>
        <a:lstStyle/>
        <a:p>
          <a:endParaRPr lang="es-CO"/>
        </a:p>
      </dgm:t>
    </dgm:pt>
    <dgm:pt modelId="{C74DE5CF-8689-48A5-AD37-0F0C1DAF1445}">
      <dgm:prSet phldrT="[Texto]"/>
      <dgm:spPr/>
      <dgm:t>
        <a:bodyPr/>
        <a:lstStyle/>
        <a:p>
          <a:r>
            <a:rPr lang="es-CO" dirty="0" smtClean="0"/>
            <a:t>Entrega Plan de manejo y traslado de redes</a:t>
          </a:r>
          <a:endParaRPr lang="es-CO" dirty="0"/>
        </a:p>
      </dgm:t>
    </dgm:pt>
    <dgm:pt modelId="{9A6861FD-55DF-4BCD-8851-114C9306F9D5}" type="parTrans" cxnId="{4C05EAA6-3C01-4849-A135-979DA0414F9A}">
      <dgm:prSet/>
      <dgm:spPr/>
      <dgm:t>
        <a:bodyPr/>
        <a:lstStyle/>
        <a:p>
          <a:endParaRPr lang="es-CO"/>
        </a:p>
      </dgm:t>
    </dgm:pt>
    <dgm:pt modelId="{15065AE9-0572-40BE-876E-2AE9F145B149}" type="sibTrans" cxnId="{4C05EAA6-3C01-4849-A135-979DA0414F9A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6C9A8AA-FD3B-4CE5-9C72-F2CBBCA370B7}" type="presOf" srcId="{1AD4B4A3-5113-45B9-9240-963954D82451}" destId="{AB09D624-FF1B-4987-8110-30D214096F41}" srcOrd="0" destOrd="7" presId="urn:microsoft.com/office/officeart/2005/8/layout/hList1"/>
    <dgm:cxn modelId="{0DA285C6-16A3-4161-A2E3-C59FDF9DBDB0}" type="presOf" srcId="{B76B31A4-77A4-404A-AB7F-C851B07D07D3}" destId="{AB09D624-FF1B-4987-8110-30D214096F41}" srcOrd="0" destOrd="4" presId="urn:microsoft.com/office/officeart/2005/8/layout/hList1"/>
    <dgm:cxn modelId="{2FA532A3-026F-45D0-9D6D-DE2C675F1D42}" type="presOf" srcId="{CF84DDC2-96BF-432F-AA37-B7281110F630}" destId="{351DADD5-826D-416B-84E5-26678C386891}" srcOrd="0" destOrd="0" presId="urn:microsoft.com/office/officeart/2005/8/layout/hList1"/>
    <dgm:cxn modelId="{9479CAA2-1EBC-49E6-83D8-CE2BD9BCF43D}" srcId="{3256AD19-79D9-4DD2-BD85-48D74080CB17}" destId="{BF0929D4-A013-4189-BDC5-9E2471DA65F3}" srcOrd="2" destOrd="0" parTransId="{42352C6E-4B28-466E-AA3B-08D6A3BB7A0F}" sibTransId="{479B86A9-2C19-436C-8CCB-01A492026A75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7FB7EB4D-E2C1-4C4F-B421-7C20B550B011}" type="presOf" srcId="{62D32E80-FEA0-48C5-B4F3-D3A7B382CF4D}" destId="{AB09D624-FF1B-4987-8110-30D214096F41}" srcOrd="0" destOrd="0" presId="urn:microsoft.com/office/officeart/2005/8/layout/hList1"/>
    <dgm:cxn modelId="{4C05EAA6-3C01-4849-A135-979DA0414F9A}" srcId="{3256AD19-79D9-4DD2-BD85-48D74080CB17}" destId="{C74DE5CF-8689-48A5-AD37-0F0C1DAF1445}" srcOrd="5" destOrd="0" parTransId="{9A6861FD-55DF-4BCD-8851-114C9306F9D5}" sibTransId="{15065AE9-0572-40BE-876E-2AE9F145B149}"/>
    <dgm:cxn modelId="{72C212E8-B239-44F0-8820-38A0E881D733}" srcId="{3256AD19-79D9-4DD2-BD85-48D74080CB17}" destId="{9D725FB9-9A93-4599-B80E-F88D7CACD18E}" srcOrd="1" destOrd="0" parTransId="{4354F5F0-35E3-4FFF-A0EA-8FE5A8B68CE7}" sibTransId="{396B79E0-9B72-4E18-A4F6-0CB4835BA3B8}"/>
    <dgm:cxn modelId="{256F8F46-8032-4FB9-93EB-493B79A5969E}" type="presOf" srcId="{71771455-A18B-4085-A249-C69E245C33F0}" destId="{AB09D624-FF1B-4987-8110-30D214096F41}" srcOrd="0" destOrd="3" presId="urn:microsoft.com/office/officeart/2005/8/layout/hList1"/>
    <dgm:cxn modelId="{D2619949-EEAA-423B-B57E-FCEEE65295F2}" srcId="{3256AD19-79D9-4DD2-BD85-48D74080CB17}" destId="{7C8DCF88-C619-4442-B8E5-020005E9618B}" srcOrd="6" destOrd="0" parTransId="{90B7CC27-EA8A-4BBE-A8B9-65EB367A0293}" sibTransId="{7BD64ABD-F353-4919-9BCC-169D3D5E8942}"/>
    <dgm:cxn modelId="{530EDA4F-8515-464F-AD48-6A9B81EB3BFA}" type="presOf" srcId="{3256AD19-79D9-4DD2-BD85-48D74080CB17}" destId="{FFC2669E-6EFE-4306-9BF4-0E6FE39D4B43}" srcOrd="0" destOrd="0" presId="urn:microsoft.com/office/officeart/2005/8/layout/hList1"/>
    <dgm:cxn modelId="{B7311D12-5452-4D1E-8C08-8788DD06E1B6}" srcId="{3256AD19-79D9-4DD2-BD85-48D74080CB17}" destId="{71771455-A18B-4085-A249-C69E245C33F0}" srcOrd="3" destOrd="0" parTransId="{E7D3EEEE-DAC4-40CA-BFD2-4B5AD19B65A2}" sibTransId="{B0CEBC57-E116-4703-9557-6D3D3FB7A89F}"/>
    <dgm:cxn modelId="{2206E27D-7119-4413-B6F2-9E99BD181918}" type="presOf" srcId="{BF0929D4-A013-4189-BDC5-9E2471DA65F3}" destId="{AB09D624-FF1B-4987-8110-30D214096F41}" srcOrd="0" destOrd="2" presId="urn:microsoft.com/office/officeart/2005/8/layout/hList1"/>
    <dgm:cxn modelId="{6AF05CBB-F2DD-47C9-860D-F7E9A88590D0}" type="presOf" srcId="{C74DE5CF-8689-48A5-AD37-0F0C1DAF1445}" destId="{AB09D624-FF1B-4987-8110-30D214096F41}" srcOrd="0" destOrd="5" presId="urn:microsoft.com/office/officeart/2005/8/layout/hList1"/>
    <dgm:cxn modelId="{FFE90CAD-6FF4-4D00-88CC-CC2FD56ADB4F}" srcId="{3256AD19-79D9-4DD2-BD85-48D74080CB17}" destId="{B76B31A4-77A4-404A-AB7F-C851B07D07D3}" srcOrd="4" destOrd="0" parTransId="{85541EB4-7FC3-49D1-A85E-F2235DF7FC08}" sibTransId="{BB0B39CB-38CB-4DD0-9709-54CDD794666B}"/>
    <dgm:cxn modelId="{2B1C9789-4E04-4635-A51B-0ACA50652788}" type="presOf" srcId="{9D725FB9-9A93-4599-B80E-F88D7CACD18E}" destId="{AB09D624-FF1B-4987-8110-30D214096F41}" srcOrd="0" destOrd="1" presId="urn:microsoft.com/office/officeart/2005/8/layout/hList1"/>
    <dgm:cxn modelId="{EF278EBD-E603-4EC6-A238-3BA15B3F023A}" srcId="{3256AD19-79D9-4DD2-BD85-48D74080CB17}" destId="{1AD4B4A3-5113-45B9-9240-963954D82451}" srcOrd="7" destOrd="0" parTransId="{E505D5D5-E6D4-48B2-B82E-946838C02B59}" sibTransId="{7579C66B-919F-414C-AC90-10FC29820A95}"/>
    <dgm:cxn modelId="{17D81C3F-F2B1-480F-AA68-D302D538C2A5}" type="presOf" srcId="{7C8DCF88-C619-4442-B8E5-020005E9618B}" destId="{AB09D624-FF1B-4987-8110-30D214096F41}" srcOrd="0" destOrd="6" presId="urn:microsoft.com/office/officeart/2005/8/layout/hList1"/>
    <dgm:cxn modelId="{CAC0B6D3-ED31-4E52-A529-BBEDA099ECB3}" type="presParOf" srcId="{351DADD5-826D-416B-84E5-26678C386891}" destId="{78A07495-0AF3-45E3-8386-C0DF5FF5E438}" srcOrd="0" destOrd="0" presId="urn:microsoft.com/office/officeart/2005/8/layout/hList1"/>
    <dgm:cxn modelId="{5D90C517-24E1-45B1-A4CC-D4043C175839}" type="presParOf" srcId="{78A07495-0AF3-45E3-8386-C0DF5FF5E438}" destId="{FFC2669E-6EFE-4306-9BF4-0E6FE39D4B43}" srcOrd="0" destOrd="0" presId="urn:microsoft.com/office/officeart/2005/8/layout/hList1"/>
    <dgm:cxn modelId="{81317E56-102B-43FC-8C57-BF2D82613E05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Se conformo el panel de amigable componedor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5C1AE6DE-6769-43EA-B19F-6A8C5E13E8EA}">
      <dgm:prSet phldrT="[Texto]"/>
      <dgm:spPr/>
      <dgm:t>
        <a:bodyPr/>
        <a:lstStyle/>
        <a:p>
          <a:r>
            <a:rPr lang="es-CO" dirty="0" smtClean="0"/>
            <a:t>Se suscribió el Convenio con la POLCA el 6 de mayo de 2016 y se entregaron los elementos y bienes a la Policía el 12 de mayo de 2016.</a:t>
          </a:r>
          <a:endParaRPr lang="es-CO" dirty="0"/>
        </a:p>
      </dgm:t>
    </dgm:pt>
    <dgm:pt modelId="{DDB6326F-4F62-4A6B-8B38-B6956ABAEE84}" type="parTrans" cxnId="{3DF3107F-C2B4-4CD2-B9D1-BD3189D97479}">
      <dgm:prSet/>
      <dgm:spPr/>
      <dgm:t>
        <a:bodyPr/>
        <a:lstStyle/>
        <a:p>
          <a:endParaRPr lang="es-CO"/>
        </a:p>
      </dgm:t>
    </dgm:pt>
    <dgm:pt modelId="{A3A296FF-5751-46A4-AEAD-862C74934580}" type="sibTrans" cxnId="{3DF3107F-C2B4-4CD2-B9D1-BD3189D97479}">
      <dgm:prSet/>
      <dgm:spPr/>
      <dgm:t>
        <a:bodyPr/>
        <a:lstStyle/>
        <a:p>
          <a:endParaRPr lang="es-CO"/>
        </a:p>
      </dgm:t>
    </dgm:pt>
    <dgm:pt modelId="{6D18A681-CE5B-476C-939B-43F4B984ECB5}">
      <dgm:prSet phldrT="[Texto]"/>
      <dgm:spPr/>
      <dgm:t>
        <a:bodyPr/>
        <a:lstStyle/>
        <a:p>
          <a:r>
            <a:rPr lang="es-CO" dirty="0" smtClean="0"/>
            <a:t>Se entregaron los estudios y diseños definitivos el 20 de abril de 2016. En revisión actualmente por la Interventoría.</a:t>
          </a:r>
          <a:endParaRPr lang="es-CO" dirty="0"/>
        </a:p>
      </dgm:t>
    </dgm:pt>
    <dgm:pt modelId="{617C5394-5DB9-41B8-A91E-69AF99E795FD}" type="parTrans" cxnId="{2000A847-0CD4-4B79-B004-D34307170FB3}">
      <dgm:prSet/>
      <dgm:spPr/>
      <dgm:t>
        <a:bodyPr/>
        <a:lstStyle/>
        <a:p>
          <a:endParaRPr lang="es-CO"/>
        </a:p>
      </dgm:t>
    </dgm:pt>
    <dgm:pt modelId="{AA38BDE8-01F7-4732-9CF1-A51E412E91E9}" type="sibTrans" cxnId="{2000A847-0CD4-4B79-B004-D34307170FB3}">
      <dgm:prSet/>
      <dgm:spPr/>
      <dgm:t>
        <a:bodyPr/>
        <a:lstStyle/>
        <a:p>
          <a:endParaRPr lang="es-CO"/>
        </a:p>
      </dgm:t>
    </dgm:pt>
    <dgm:pt modelId="{C8F8E975-1B9A-45FE-BC2B-40B36583FD4D}">
      <dgm:prSet phldrT="[Texto]"/>
      <dgm:spPr/>
      <dgm:t>
        <a:bodyPr/>
        <a:lstStyle/>
        <a:p>
          <a:r>
            <a:rPr lang="es-CO" dirty="0" smtClean="0"/>
            <a:t>Se entregó el corredor vial al Concesionario NUEVO CAUCA SAS el 1 de diciembre de 2015</a:t>
          </a:r>
          <a:endParaRPr lang="es-CO" dirty="0"/>
        </a:p>
      </dgm:t>
    </dgm:pt>
    <dgm:pt modelId="{71D5A4C5-C560-4733-92CB-D4881A27FC27}" type="parTrans" cxnId="{0246B09C-62E6-4E45-B8CD-571A377E9EBB}">
      <dgm:prSet/>
      <dgm:spPr/>
      <dgm:t>
        <a:bodyPr/>
        <a:lstStyle/>
        <a:p>
          <a:endParaRPr lang="es-CO"/>
        </a:p>
      </dgm:t>
    </dgm:pt>
    <dgm:pt modelId="{48DB73C0-E0C8-449C-82F6-5837C1C37FE6}" type="sibTrans" cxnId="{0246B09C-62E6-4E45-B8CD-571A377E9EBB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093" custLinFactNeighborY="169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430" custLinFactNeighborY="-92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7C47C990-E39D-4042-B40E-5C052E317743}" type="presOf" srcId="{C8F8E975-1B9A-45FE-BC2B-40B36583FD4D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3DF3107F-C2B4-4CD2-B9D1-BD3189D97479}" srcId="{3256AD19-79D9-4DD2-BD85-48D74080CB17}" destId="{5C1AE6DE-6769-43EA-B19F-6A8C5E13E8EA}" srcOrd="3" destOrd="0" parTransId="{DDB6326F-4F62-4A6B-8B38-B6956ABAEE84}" sibTransId="{A3A296FF-5751-46A4-AEAD-862C74934580}"/>
    <dgm:cxn modelId="{548893D6-6D4A-4ACD-A8F6-A6F7C76ACFED}" type="presOf" srcId="{62D32E80-FEA0-48C5-B4F3-D3A7B382CF4D}" destId="{AB09D624-FF1B-4987-8110-30D214096F41}" srcOrd="0" destOrd="0" presId="urn:microsoft.com/office/officeart/2005/8/layout/hList1"/>
    <dgm:cxn modelId="{618A9E2F-FC46-4FBC-B839-DAB760DB581F}" type="presOf" srcId="{5C1AE6DE-6769-43EA-B19F-6A8C5E13E8EA}" destId="{AB09D624-FF1B-4987-8110-30D214096F41}" srcOrd="0" destOrd="3" presId="urn:microsoft.com/office/officeart/2005/8/layout/hList1"/>
    <dgm:cxn modelId="{E375FA22-E4D1-4C6E-83DF-87D6F45C541A}" type="presOf" srcId="{6D18A681-CE5B-476C-939B-43F4B984ECB5}" destId="{AB09D624-FF1B-4987-8110-30D214096F41}" srcOrd="0" destOrd="2" presId="urn:microsoft.com/office/officeart/2005/8/layout/hList1"/>
    <dgm:cxn modelId="{2000A847-0CD4-4B79-B004-D34307170FB3}" srcId="{3256AD19-79D9-4DD2-BD85-48D74080CB17}" destId="{6D18A681-CE5B-476C-939B-43F4B984ECB5}" srcOrd="2" destOrd="0" parTransId="{617C5394-5DB9-41B8-A91E-69AF99E795FD}" sibTransId="{AA38BDE8-01F7-4732-9CF1-A51E412E91E9}"/>
    <dgm:cxn modelId="{BB56A4E4-DC7B-47A6-A597-B7C563C1894A}" type="presOf" srcId="{CF84DDC2-96BF-432F-AA37-B7281110F630}" destId="{351DADD5-826D-416B-84E5-26678C386891}" srcOrd="0" destOrd="0" presId="urn:microsoft.com/office/officeart/2005/8/layout/hList1"/>
    <dgm:cxn modelId="{0246B09C-62E6-4E45-B8CD-571A377E9EBB}" srcId="{3256AD19-79D9-4DD2-BD85-48D74080CB17}" destId="{C8F8E975-1B9A-45FE-BC2B-40B36583FD4D}" srcOrd="1" destOrd="0" parTransId="{71D5A4C5-C560-4733-92CB-D4881A27FC27}" sibTransId="{48DB73C0-E0C8-449C-82F6-5837C1C37FE6}"/>
    <dgm:cxn modelId="{526AEE57-56E1-42EC-A1B7-404D7CE0A8E1}" type="presOf" srcId="{3256AD19-79D9-4DD2-BD85-48D74080CB17}" destId="{FFC2669E-6EFE-4306-9BF4-0E6FE39D4B43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59EA4FB3-CBA8-470C-8DCA-1641DAF022BB}" type="presParOf" srcId="{351DADD5-826D-416B-84E5-26678C386891}" destId="{78A07495-0AF3-45E3-8386-C0DF5FF5E438}" srcOrd="0" destOrd="0" presId="urn:microsoft.com/office/officeart/2005/8/layout/hList1"/>
    <dgm:cxn modelId="{B83270B1-DAC6-401F-B726-D6B047B17920}" type="presParOf" srcId="{78A07495-0AF3-45E3-8386-C0DF5FF5E438}" destId="{FFC2669E-6EFE-4306-9BF4-0E6FE39D4B43}" srcOrd="0" destOrd="0" presId="urn:microsoft.com/office/officeart/2005/8/layout/hList1"/>
    <dgm:cxn modelId="{F4B82804-4399-43B6-80C4-C529C09430D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419" dirty="0" smtClean="0"/>
            <a:t>Elaboración de Estudios y Diseños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8A47FB3-5B8E-4DB4-A6BE-E05D3AA1A15E}">
      <dgm:prSet phldrT="[Texto]"/>
      <dgm:spPr/>
      <dgm:t>
        <a:bodyPr/>
        <a:lstStyle/>
        <a:p>
          <a:r>
            <a:rPr lang="es-419" dirty="0" smtClean="0"/>
            <a:t>Gestión de Tramite Ambientales y en el Ministerio del Interior para certificación e inicio de proceso de Consulta Previa. </a:t>
          </a:r>
          <a:endParaRPr lang="es-CO" dirty="0"/>
        </a:p>
      </dgm:t>
    </dgm:pt>
    <dgm:pt modelId="{65F42C26-7CF8-4D92-82B5-4D65265C394F}" type="parTrans" cxnId="{ADA88B54-729A-4416-B6D2-01C6B8AC8501}">
      <dgm:prSet/>
      <dgm:spPr/>
      <dgm:t>
        <a:bodyPr/>
        <a:lstStyle/>
        <a:p>
          <a:endParaRPr lang="es-419"/>
        </a:p>
      </dgm:t>
    </dgm:pt>
    <dgm:pt modelId="{6C70A6EB-BD1C-426E-81BC-D493191024AF}" type="sibTrans" cxnId="{ADA88B54-729A-4416-B6D2-01C6B8AC8501}">
      <dgm:prSet/>
      <dgm:spPr/>
      <dgm:t>
        <a:bodyPr/>
        <a:lstStyle/>
        <a:p>
          <a:endParaRPr lang="es-419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58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6A26758-28C0-4810-876B-473583ADDDF9}" type="presOf" srcId="{3256AD19-79D9-4DD2-BD85-48D74080CB17}" destId="{FFC2669E-6EFE-4306-9BF4-0E6FE39D4B43}" srcOrd="0" destOrd="0" presId="urn:microsoft.com/office/officeart/2005/8/layout/hList1"/>
    <dgm:cxn modelId="{ADA88B54-729A-4416-B6D2-01C6B8AC8501}" srcId="{3256AD19-79D9-4DD2-BD85-48D74080CB17}" destId="{88A47FB3-5B8E-4DB4-A6BE-E05D3AA1A15E}" srcOrd="1" destOrd="0" parTransId="{65F42C26-7CF8-4D92-82B5-4D65265C394F}" sibTransId="{6C70A6EB-BD1C-426E-81BC-D493191024AF}"/>
    <dgm:cxn modelId="{442599FF-D56A-48A1-A773-6CBD9B959ED3}" type="presOf" srcId="{62D32E80-FEA0-48C5-B4F3-D3A7B382CF4D}" destId="{AB09D624-FF1B-4987-8110-30D214096F41}" srcOrd="0" destOrd="0" presId="urn:microsoft.com/office/officeart/2005/8/layout/hList1"/>
    <dgm:cxn modelId="{BD029424-999D-4FD7-9188-7BF425AABB1D}" type="presOf" srcId="{CF84DDC2-96BF-432F-AA37-B7281110F630}" destId="{351DADD5-826D-416B-84E5-26678C386891}" srcOrd="0" destOrd="0" presId="urn:microsoft.com/office/officeart/2005/8/layout/hList1"/>
    <dgm:cxn modelId="{816ED3C4-551A-49E7-ACB2-D28721A47D19}" type="presOf" srcId="{88A47FB3-5B8E-4DB4-A6BE-E05D3AA1A15E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F196C1D-B2CA-49E5-89D6-BFC83A90C5DB}" type="presParOf" srcId="{351DADD5-826D-416B-84E5-26678C386891}" destId="{78A07495-0AF3-45E3-8386-C0DF5FF5E438}" srcOrd="0" destOrd="0" presId="urn:microsoft.com/office/officeart/2005/8/layout/hList1"/>
    <dgm:cxn modelId="{6E4C4A54-C776-49D5-B6ED-201A664C23DF}" type="presParOf" srcId="{78A07495-0AF3-45E3-8386-C0DF5FF5E438}" destId="{FFC2669E-6EFE-4306-9BF4-0E6FE39D4B43}" srcOrd="0" destOrd="0" presId="urn:microsoft.com/office/officeart/2005/8/layout/hList1"/>
    <dgm:cxn modelId="{9F50AC54-7DD7-4CEA-BFFC-78CB5B842BD4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700" dirty="0" smtClean="0"/>
            <a:t>Avances</a:t>
          </a:r>
          <a:endParaRPr lang="es-CO" sz="17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pPr algn="just"/>
          <a:r>
            <a:rPr lang="es-CO" sz="1200" dirty="0" smtClean="0"/>
            <a:t>El 20 de Mayo de 2016, el Concesionario realizó la entrega del diseño geométrico de las 5 unidades funcionales del Proyecto, diseños de detalle de la UF 1, Plan de manejo de redes y Plan de adquisición predial. Sin embargo estos diseños y entregables, fueron elaborados bajo una optimización de trazado realizado por el Concesionario, que afecta parte de la UF 1, UF 2 y parte de la UF 3, esta optimización de trazado se aleja de trazado fase II. (en revisión de la Interventoría).</a:t>
          </a:r>
          <a:endParaRPr lang="es-CO" sz="12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968D563C-2FD7-4B70-AE75-CECFA0D2D958}">
      <dgm:prSet phldrT="[Texto]" custT="1"/>
      <dgm:spPr/>
      <dgm:t>
        <a:bodyPr/>
        <a:lstStyle/>
        <a:p>
          <a:pPr algn="just"/>
          <a:r>
            <a:rPr lang="es-CO" sz="1200" dirty="0" smtClean="0"/>
            <a:t>En las UF 1, 2 y 3, independiente del trazado geométrico de Fase II y Optimización de trazado, se identifica presencia de comunidad Indígena. En proceso de certificación.</a:t>
          </a:r>
          <a:endParaRPr lang="es-CO" sz="1200" dirty="0"/>
        </a:p>
      </dgm:t>
    </dgm:pt>
    <dgm:pt modelId="{8B5C9625-B85B-4230-8AB7-244978B8DF6E}" type="parTrans" cxnId="{CF1943B5-92D9-4B7E-89C0-8B5A3851A980}">
      <dgm:prSet/>
      <dgm:spPr/>
      <dgm:t>
        <a:bodyPr/>
        <a:lstStyle/>
        <a:p>
          <a:endParaRPr lang="en-US"/>
        </a:p>
      </dgm:t>
    </dgm:pt>
    <dgm:pt modelId="{2B1942A9-7FC0-44F4-A958-37FCBC2CE380}" type="sibTrans" cxnId="{CF1943B5-92D9-4B7E-89C0-8B5A3851A980}">
      <dgm:prSet/>
      <dgm:spPr/>
      <dgm:t>
        <a:bodyPr/>
        <a:lstStyle/>
        <a:p>
          <a:endParaRPr lang="en-US"/>
        </a:p>
      </dgm:t>
    </dgm:pt>
    <dgm:pt modelId="{A147B3E9-8FE5-4F9D-AA67-5D9ABD2609BD}">
      <dgm:prSet phldrT="[Texto]" custT="1"/>
      <dgm:spPr/>
      <dgm:t>
        <a:bodyPr/>
        <a:lstStyle/>
        <a:p>
          <a:pPr algn="just"/>
          <a:r>
            <a:rPr lang="es-CO" sz="1200" dirty="0" smtClean="0"/>
            <a:t>Se firmó con fecha de 29 de abril de 2016 por parte de la Policía Nacional, el Convenio entre Concesionario y Policía </a:t>
          </a:r>
          <a:endParaRPr lang="es-CO" sz="1200" dirty="0"/>
        </a:p>
      </dgm:t>
    </dgm:pt>
    <dgm:pt modelId="{4A020BA8-B5D5-420B-8C45-C4A22F782794}" type="parTrans" cxnId="{99E798C1-FEF3-494A-91C4-D25EB1ACAF4D}">
      <dgm:prSet/>
      <dgm:spPr/>
      <dgm:t>
        <a:bodyPr/>
        <a:lstStyle/>
        <a:p>
          <a:endParaRPr lang="es-MX"/>
        </a:p>
      </dgm:t>
    </dgm:pt>
    <dgm:pt modelId="{F703A7E7-1049-44B5-A52C-766E110E1BC5}" type="sibTrans" cxnId="{99E798C1-FEF3-494A-91C4-D25EB1ACAF4D}">
      <dgm:prSet/>
      <dgm:spPr/>
      <dgm:t>
        <a:bodyPr/>
        <a:lstStyle/>
        <a:p>
          <a:endParaRPr lang="es-MX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88931" custLinFactNeighborY="1732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0000" custLinFactNeighborY="80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F1943B5-92D9-4B7E-89C0-8B5A3851A980}" srcId="{3256AD19-79D9-4DD2-BD85-48D74080CB17}" destId="{968D563C-2FD7-4B70-AE75-CECFA0D2D958}" srcOrd="1" destOrd="0" parTransId="{8B5C9625-B85B-4230-8AB7-244978B8DF6E}" sibTransId="{2B1942A9-7FC0-44F4-A958-37FCBC2CE380}"/>
    <dgm:cxn modelId="{4B94207C-CE84-4A35-895E-D63E9B8F6AFA}" type="presOf" srcId="{968D563C-2FD7-4B70-AE75-CECFA0D2D958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99E798C1-FEF3-494A-91C4-D25EB1ACAF4D}" srcId="{3256AD19-79D9-4DD2-BD85-48D74080CB17}" destId="{A147B3E9-8FE5-4F9D-AA67-5D9ABD2609BD}" srcOrd="2" destOrd="0" parTransId="{4A020BA8-B5D5-420B-8C45-C4A22F782794}" sibTransId="{F703A7E7-1049-44B5-A52C-766E110E1BC5}"/>
    <dgm:cxn modelId="{B628F27A-3B2C-4C9A-A780-A7A9D50A194D}" type="presOf" srcId="{62D32E80-FEA0-48C5-B4F3-D3A7B382CF4D}" destId="{AB09D624-FF1B-4987-8110-30D214096F41}" srcOrd="0" destOrd="0" presId="urn:microsoft.com/office/officeart/2005/8/layout/hList1"/>
    <dgm:cxn modelId="{1B1947DB-078A-4349-92F5-D580D63D4F53}" type="presOf" srcId="{3256AD19-79D9-4DD2-BD85-48D74080CB17}" destId="{FFC2669E-6EFE-4306-9BF4-0E6FE39D4B43}" srcOrd="0" destOrd="0" presId="urn:microsoft.com/office/officeart/2005/8/layout/hList1"/>
    <dgm:cxn modelId="{C5F90C97-1AFF-4C6A-87F0-535D68C6F4FE}" type="presOf" srcId="{CF84DDC2-96BF-432F-AA37-B7281110F630}" destId="{351DADD5-826D-416B-84E5-26678C38689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9AABE9F-D1B3-402A-A637-9F615F674007}" type="presOf" srcId="{A147B3E9-8FE5-4F9D-AA67-5D9ABD2609BD}" destId="{AB09D624-FF1B-4987-8110-30D214096F41}" srcOrd="0" destOrd="2" presId="urn:microsoft.com/office/officeart/2005/8/layout/hList1"/>
    <dgm:cxn modelId="{9AF90471-09D5-4707-BA98-D4DB6DC11D82}" type="presParOf" srcId="{351DADD5-826D-416B-84E5-26678C386891}" destId="{78A07495-0AF3-45E3-8386-C0DF5FF5E438}" srcOrd="0" destOrd="0" presId="urn:microsoft.com/office/officeart/2005/8/layout/hList1"/>
    <dgm:cxn modelId="{0609F9A3-63DE-4219-8C20-C931C704B16D}" type="presParOf" srcId="{78A07495-0AF3-45E3-8386-C0DF5FF5E438}" destId="{FFC2669E-6EFE-4306-9BF4-0E6FE39D4B43}" srcOrd="0" destOrd="0" presId="urn:microsoft.com/office/officeart/2005/8/layout/hList1"/>
    <dgm:cxn modelId="{C66282FE-FA88-4A73-A4E6-FDD2C21A386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419" dirty="0" smtClean="0"/>
            <a:t>Elaboración de Estudios y Diseños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F432A290-6A0A-4DA7-8BAF-4B657BD08E92}">
      <dgm:prSet phldrT="[Texto]"/>
      <dgm:spPr/>
      <dgm:t>
        <a:bodyPr/>
        <a:lstStyle/>
        <a:p>
          <a:r>
            <a:rPr lang="es-419" dirty="0" smtClean="0"/>
            <a:t>Gestión a Tramite Ambientales y ante el Ministerio del Interior.</a:t>
          </a:r>
          <a:endParaRPr lang="es-CO" dirty="0"/>
        </a:p>
      </dgm:t>
    </dgm:pt>
    <dgm:pt modelId="{B8C474FE-922E-4EEE-B9F5-BBD2BFA6009A}" type="parTrans" cxnId="{DBEF5992-4B1C-4971-8FE1-7F41116CAB87}">
      <dgm:prSet/>
      <dgm:spPr/>
      <dgm:t>
        <a:bodyPr/>
        <a:lstStyle/>
        <a:p>
          <a:endParaRPr lang="es-419"/>
        </a:p>
      </dgm:t>
    </dgm:pt>
    <dgm:pt modelId="{7778ED62-A1B5-4855-AC61-5832DB84A1DA}" type="sibTrans" cxnId="{DBEF5992-4B1C-4971-8FE1-7F41116CAB87}">
      <dgm:prSet/>
      <dgm:spPr/>
      <dgm:t>
        <a:bodyPr/>
        <a:lstStyle/>
        <a:p>
          <a:endParaRPr lang="es-419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000" custLinFactNeighborY="-460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9299A33-1E77-49D4-86F6-55D246FD05F8}" type="presOf" srcId="{62D32E80-FEA0-48C5-B4F3-D3A7B382CF4D}" destId="{AB09D624-FF1B-4987-8110-30D214096F41}" srcOrd="0" destOrd="0" presId="urn:microsoft.com/office/officeart/2005/8/layout/hList1"/>
    <dgm:cxn modelId="{DBEF5992-4B1C-4971-8FE1-7F41116CAB87}" srcId="{3256AD19-79D9-4DD2-BD85-48D74080CB17}" destId="{F432A290-6A0A-4DA7-8BAF-4B657BD08E92}" srcOrd="1" destOrd="0" parTransId="{B8C474FE-922E-4EEE-B9F5-BBD2BFA6009A}" sibTransId="{7778ED62-A1B5-4855-AC61-5832DB84A1DA}"/>
    <dgm:cxn modelId="{E034CE8C-0446-4145-9D4B-4323E0BA2067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F37D702C-F8B9-43A4-B002-A19BB4272E80}" type="presOf" srcId="{CF84DDC2-96BF-432F-AA37-B7281110F630}" destId="{351DADD5-826D-416B-84E5-26678C386891}" srcOrd="0" destOrd="0" presId="urn:microsoft.com/office/officeart/2005/8/layout/hList1"/>
    <dgm:cxn modelId="{2498E4D1-B4D0-4737-9179-FC91B3E5279E}" type="presOf" srcId="{F432A290-6A0A-4DA7-8BAF-4B657BD08E92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74F7EFE-9AFB-4C6A-9C6D-50DD05B2236C}" type="presParOf" srcId="{351DADD5-826D-416B-84E5-26678C386891}" destId="{78A07495-0AF3-45E3-8386-C0DF5FF5E438}" srcOrd="0" destOrd="0" presId="urn:microsoft.com/office/officeart/2005/8/layout/hList1"/>
    <dgm:cxn modelId="{0A1745B4-AFC4-4FAC-90E3-26B0D4584838}" type="presParOf" srcId="{78A07495-0AF3-45E3-8386-C0DF5FF5E438}" destId="{FFC2669E-6EFE-4306-9BF4-0E6FE39D4B43}" srcOrd="0" destOrd="0" presId="urn:microsoft.com/office/officeart/2005/8/layout/hList1"/>
    <dgm:cxn modelId="{EA21079C-7B4C-4B23-8965-8EF2E826A27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419" dirty="0" smtClean="0"/>
            <a:t>Avance del 90% en  Estudios y Diseños. </a:t>
          </a:r>
          <a:r>
            <a:rPr lang="es-CO" dirty="0" smtClean="0"/>
            <a:t>Concesionario realiza entrega a Interventoría del diseño geométrico de la totalidad de las unidades funcionales,  estudios de detalle de las UF1-2-3-4-7 y el Plan de manejo de redes.  La interventoría se encuentra en revisión de los diseño entregados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9B0360D-8D39-4A47-8DD0-6C4849D1ABA2}">
      <dgm:prSet/>
      <dgm:spPr/>
      <dgm:t>
        <a:bodyPr/>
        <a:lstStyle/>
        <a:p>
          <a:r>
            <a:rPr lang="es-419" dirty="0" smtClean="0"/>
            <a:t>Avance del 50% en formulación del E.I.A. </a:t>
          </a:r>
          <a:endParaRPr lang="es-CO" dirty="0" smtClean="0"/>
        </a:p>
      </dgm:t>
    </dgm:pt>
    <dgm:pt modelId="{4B16FDEA-0D6F-40AB-AF5B-3E84B214D441}" type="parTrans" cxnId="{EEBBF67C-DB20-49CF-A101-29241FED35A4}">
      <dgm:prSet/>
      <dgm:spPr/>
      <dgm:t>
        <a:bodyPr/>
        <a:lstStyle/>
        <a:p>
          <a:endParaRPr lang="es-CO"/>
        </a:p>
      </dgm:t>
    </dgm:pt>
    <dgm:pt modelId="{13D088D8-413F-40C6-B1F7-CF789AA37708}" type="sibTrans" cxnId="{EEBBF67C-DB20-49CF-A101-29241FED35A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093" custLinFactNeighborY="169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83509" custLinFactNeighborX="-1234" custLinFactNeighborY="-910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9D527BF-57F1-4B68-804A-6C7A5069582B}" type="presOf" srcId="{3256AD19-79D9-4DD2-BD85-48D74080CB17}" destId="{FFC2669E-6EFE-4306-9BF4-0E6FE39D4B43}" srcOrd="0" destOrd="0" presId="urn:microsoft.com/office/officeart/2005/8/layout/hList1"/>
    <dgm:cxn modelId="{536D7AA0-561C-4114-94F3-2A4BA78A69B8}" type="presOf" srcId="{39B0360D-8D39-4A47-8DD0-6C4849D1ABA2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22C387B6-7906-4023-809B-A1212FD833AA}" type="presOf" srcId="{CF84DDC2-96BF-432F-AA37-B7281110F630}" destId="{351DADD5-826D-416B-84E5-26678C386891}" srcOrd="0" destOrd="0" presId="urn:microsoft.com/office/officeart/2005/8/layout/hList1"/>
    <dgm:cxn modelId="{EEBBF67C-DB20-49CF-A101-29241FED35A4}" srcId="{3256AD19-79D9-4DD2-BD85-48D74080CB17}" destId="{39B0360D-8D39-4A47-8DD0-6C4849D1ABA2}" srcOrd="1" destOrd="0" parTransId="{4B16FDEA-0D6F-40AB-AF5B-3E84B214D441}" sibTransId="{13D088D8-413F-40C6-B1F7-CF789AA37708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EE14BA3-15E1-4967-BF99-9CBF206444F9}" type="presOf" srcId="{62D32E80-FEA0-48C5-B4F3-D3A7B382CF4D}" destId="{AB09D624-FF1B-4987-8110-30D214096F41}" srcOrd="0" destOrd="0" presId="urn:microsoft.com/office/officeart/2005/8/layout/hList1"/>
    <dgm:cxn modelId="{907FF1D9-904E-4982-A414-13ABE81918C8}" type="presParOf" srcId="{351DADD5-826D-416B-84E5-26678C386891}" destId="{78A07495-0AF3-45E3-8386-C0DF5FF5E438}" srcOrd="0" destOrd="0" presId="urn:microsoft.com/office/officeart/2005/8/layout/hList1"/>
    <dgm:cxn modelId="{39F16167-B9DD-47A5-A195-6D2F454BC875}" type="presParOf" srcId="{78A07495-0AF3-45E3-8386-C0DF5FF5E438}" destId="{FFC2669E-6EFE-4306-9BF4-0E6FE39D4B43}" srcOrd="0" destOrd="0" presId="urn:microsoft.com/office/officeart/2005/8/layout/hList1"/>
    <dgm:cxn modelId="{914EAE6D-C8CA-401E-B4A7-D46E4AD4CAC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419" sz="1300" dirty="0" smtClean="0"/>
            <a:t>Elaboración de Estudios y Diseños.</a:t>
          </a:r>
          <a:endParaRPr lang="es-CO" sz="13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8A47FB3-5B8E-4DB4-A6BE-E05D3AA1A15E}">
      <dgm:prSet phldrT="[Texto]" custT="1"/>
      <dgm:spPr/>
      <dgm:t>
        <a:bodyPr/>
        <a:lstStyle/>
        <a:p>
          <a:r>
            <a:rPr lang="es-419" sz="1300" dirty="0" smtClean="0"/>
            <a:t> Gestión al Licenciamiento Ambiental (Inc. Consultas previas)</a:t>
          </a:r>
          <a:r>
            <a:rPr lang="es-CO" sz="1300" dirty="0" smtClean="0"/>
            <a:t> </a:t>
          </a:r>
          <a:endParaRPr lang="es-CO" sz="1300" dirty="0"/>
        </a:p>
      </dgm:t>
    </dgm:pt>
    <dgm:pt modelId="{65F42C26-7CF8-4D92-82B5-4D65265C394F}" type="parTrans" cxnId="{ADA88B54-729A-4416-B6D2-01C6B8AC8501}">
      <dgm:prSet/>
      <dgm:spPr/>
      <dgm:t>
        <a:bodyPr/>
        <a:lstStyle/>
        <a:p>
          <a:endParaRPr lang="es-419"/>
        </a:p>
      </dgm:t>
    </dgm:pt>
    <dgm:pt modelId="{6C70A6EB-BD1C-426E-81BC-D493191024AF}" type="sibTrans" cxnId="{ADA88B54-729A-4416-B6D2-01C6B8AC8501}">
      <dgm:prSet/>
      <dgm:spPr/>
      <dgm:t>
        <a:bodyPr/>
        <a:lstStyle/>
        <a:p>
          <a:endParaRPr lang="es-419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193" custLinFactNeighborY="-457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ADA88B54-729A-4416-B6D2-01C6B8AC8501}" srcId="{3256AD19-79D9-4DD2-BD85-48D74080CB17}" destId="{88A47FB3-5B8E-4DB4-A6BE-E05D3AA1A15E}" srcOrd="1" destOrd="0" parTransId="{65F42C26-7CF8-4D92-82B5-4D65265C394F}" sibTransId="{6C70A6EB-BD1C-426E-81BC-D493191024AF}"/>
    <dgm:cxn modelId="{F3B42DDD-942B-4AE0-BAC5-CD93E8001B28}" type="presOf" srcId="{88A47FB3-5B8E-4DB4-A6BE-E05D3AA1A15E}" destId="{AB09D624-FF1B-4987-8110-30D214096F41}" srcOrd="0" destOrd="1" presId="urn:microsoft.com/office/officeart/2005/8/layout/hList1"/>
    <dgm:cxn modelId="{7F216F49-7761-4239-9B50-5FC71723314F}" type="presOf" srcId="{3256AD19-79D9-4DD2-BD85-48D74080CB17}" destId="{FFC2669E-6EFE-4306-9BF4-0E6FE39D4B43}" srcOrd="0" destOrd="0" presId="urn:microsoft.com/office/officeart/2005/8/layout/hList1"/>
    <dgm:cxn modelId="{381BD00E-94F7-4E45-BF2A-32C70037D2BA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DB925EE7-D4E0-4AA6-A4CB-3F44686FC0AF}" type="presOf" srcId="{CF84DDC2-96BF-432F-AA37-B7281110F630}" destId="{351DADD5-826D-416B-84E5-26678C38689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28835709-2CC1-4BE3-9535-200730E6FF5F}" type="presParOf" srcId="{351DADD5-826D-416B-84E5-26678C386891}" destId="{78A07495-0AF3-45E3-8386-C0DF5FF5E438}" srcOrd="0" destOrd="0" presId="urn:microsoft.com/office/officeart/2005/8/layout/hList1"/>
    <dgm:cxn modelId="{CE140C2D-B246-422B-AD98-154FE71B4AB3}" type="presParOf" srcId="{78A07495-0AF3-45E3-8386-C0DF5FF5E438}" destId="{FFC2669E-6EFE-4306-9BF4-0E6FE39D4B43}" srcOrd="0" destOrd="0" presId="urn:microsoft.com/office/officeart/2005/8/layout/hList1"/>
    <dgm:cxn modelId="{8EF9F7BC-0CBF-44F5-B38B-AD8CA358D61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419" dirty="0" smtClean="0"/>
            <a:t>Avance del 88% en elaboración de los estudios y Diseños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763126DE-91F3-4E93-BBEE-F335AE19DEC3}">
      <dgm:prSet phldrT="[Texto]"/>
      <dgm:spPr/>
      <dgm:t>
        <a:bodyPr/>
        <a:lstStyle/>
        <a:p>
          <a:r>
            <a:rPr lang="es-419" dirty="0" smtClean="0"/>
            <a:t>Avance del 80% en la formulación del E.I.A. </a:t>
          </a:r>
          <a:endParaRPr lang="es-CO" dirty="0"/>
        </a:p>
      </dgm:t>
    </dgm:pt>
    <dgm:pt modelId="{7E08B858-592C-47F8-877D-E38309C6F815}" type="parTrans" cxnId="{8F079E12-58E3-41BB-A85D-4325E1C5EAA9}">
      <dgm:prSet/>
      <dgm:spPr/>
      <dgm:t>
        <a:bodyPr/>
        <a:lstStyle/>
        <a:p>
          <a:endParaRPr lang="es-419"/>
        </a:p>
      </dgm:t>
    </dgm:pt>
    <dgm:pt modelId="{0881023B-5F7F-4588-A0A7-4B776E9FD7B7}" type="sibTrans" cxnId="{8F079E12-58E3-41BB-A85D-4325E1C5EAA9}">
      <dgm:prSet/>
      <dgm:spPr/>
      <dgm:t>
        <a:bodyPr/>
        <a:lstStyle/>
        <a:p>
          <a:endParaRPr lang="es-419"/>
        </a:p>
      </dgm:t>
    </dgm:pt>
    <dgm:pt modelId="{11ACE0FA-0B3F-4233-A116-3E6385603426}">
      <dgm:prSet phldrT="[Texto]"/>
      <dgm:spPr/>
      <dgm:t>
        <a:bodyPr/>
        <a:lstStyle/>
        <a:p>
          <a:r>
            <a:rPr lang="es-419" dirty="0" smtClean="0"/>
            <a:t>Concesionario no realizo entrega de Estudios de Detalle de UF 1, aludiendo limitación de acceso a territorio por consulta previa. </a:t>
          </a:r>
          <a:endParaRPr lang="es-CO" dirty="0"/>
        </a:p>
      </dgm:t>
    </dgm:pt>
    <dgm:pt modelId="{1467BB17-AAC8-4F17-B904-B06A97F94A1D}" type="parTrans" cxnId="{A4449E0F-4EAF-4B11-8909-76B25556C9EF}">
      <dgm:prSet/>
      <dgm:spPr/>
      <dgm:t>
        <a:bodyPr/>
        <a:lstStyle/>
        <a:p>
          <a:endParaRPr lang="es-419"/>
        </a:p>
      </dgm:t>
    </dgm:pt>
    <dgm:pt modelId="{F61CF95F-C0A8-4091-8884-826C92FD287B}" type="sibTrans" cxnId="{A4449E0F-4EAF-4B11-8909-76B25556C9EF}">
      <dgm:prSet/>
      <dgm:spPr/>
      <dgm:t>
        <a:bodyPr/>
        <a:lstStyle/>
        <a:p>
          <a:endParaRPr lang="es-419"/>
        </a:p>
      </dgm:t>
    </dgm:pt>
    <dgm:pt modelId="{957E530B-D065-4382-810F-C543F1547E69}">
      <dgm:prSet phldrT="[Texto]"/>
      <dgm:spPr/>
      <dgm:t>
        <a:bodyPr/>
        <a:lstStyle/>
        <a:p>
          <a:r>
            <a:rPr lang="es-419" dirty="0" smtClean="0"/>
            <a:t>Min. </a:t>
          </a:r>
          <a:r>
            <a:rPr lang="es-419" dirty="0" err="1" smtClean="0"/>
            <a:t>Int</a:t>
          </a:r>
          <a:r>
            <a:rPr lang="es-419" dirty="0" smtClean="0"/>
            <a:t> . dio por terminado el  dialogo directo con el Consejo Comunitario de Mulalo, e insto a concesionario a realizar las actividades necesarias para elaborar una matriz de Impactos.</a:t>
          </a:r>
          <a:endParaRPr lang="es-CO" dirty="0"/>
        </a:p>
      </dgm:t>
    </dgm:pt>
    <dgm:pt modelId="{741A4C6B-3444-4DEF-A15A-85ABCB960F91}" type="parTrans" cxnId="{95C32E1D-D638-4745-A8FF-4E9F5E35C31A}">
      <dgm:prSet/>
      <dgm:spPr/>
      <dgm:t>
        <a:bodyPr/>
        <a:lstStyle/>
        <a:p>
          <a:endParaRPr lang="es-419"/>
        </a:p>
      </dgm:t>
    </dgm:pt>
    <dgm:pt modelId="{079EDF31-6A8F-4408-B20D-E1C3DBB40DA0}" type="sibTrans" cxnId="{95C32E1D-D638-4745-A8FF-4E9F5E35C31A}">
      <dgm:prSet/>
      <dgm:spPr/>
      <dgm:t>
        <a:bodyPr/>
        <a:lstStyle/>
        <a:p>
          <a:endParaRPr lang="es-419"/>
        </a:p>
      </dgm:t>
    </dgm:pt>
    <dgm:pt modelId="{52B37DA3-4A07-4D40-8427-487799B28523}">
      <dgm:prSet phldrT="[Texto]"/>
      <dgm:spPr/>
      <dgm:t>
        <a:bodyPr/>
        <a:lstStyle/>
        <a:p>
          <a:r>
            <a:rPr lang="es-419" dirty="0" smtClean="0"/>
            <a:t>Se protocolizo Apertura de Consulta Previa Ruta Metodológica, con el Consejo comunitario negro de Loboguerrero.</a:t>
          </a:r>
          <a:endParaRPr lang="es-CO" dirty="0"/>
        </a:p>
      </dgm:t>
    </dgm:pt>
    <dgm:pt modelId="{2E6FDB84-3344-49A7-8CE7-28A3DE6AA84C}" type="parTrans" cxnId="{D03134B0-6D90-4EBA-B964-683BFC7F3B21}">
      <dgm:prSet/>
      <dgm:spPr/>
      <dgm:t>
        <a:bodyPr/>
        <a:lstStyle/>
        <a:p>
          <a:endParaRPr lang="es-419"/>
        </a:p>
      </dgm:t>
    </dgm:pt>
    <dgm:pt modelId="{87E8E805-BF42-4EAB-AEEF-BF0B0EEC9399}" type="sibTrans" cxnId="{D03134B0-6D90-4EBA-B964-683BFC7F3B21}">
      <dgm:prSet/>
      <dgm:spPr/>
      <dgm:t>
        <a:bodyPr/>
        <a:lstStyle/>
        <a:p>
          <a:endParaRPr lang="es-419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99681" custLinFactY="-16488" custLinFactNeighborX="701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5295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A4449E0F-4EAF-4B11-8909-76B25556C9EF}" srcId="{3256AD19-79D9-4DD2-BD85-48D74080CB17}" destId="{11ACE0FA-0B3F-4233-A116-3E6385603426}" srcOrd="2" destOrd="0" parTransId="{1467BB17-AAC8-4F17-B904-B06A97F94A1D}" sibTransId="{F61CF95F-C0A8-4091-8884-826C92FD287B}"/>
    <dgm:cxn modelId="{8F079E12-58E3-41BB-A85D-4325E1C5EAA9}" srcId="{3256AD19-79D9-4DD2-BD85-48D74080CB17}" destId="{763126DE-91F3-4E93-BBEE-F335AE19DEC3}" srcOrd="1" destOrd="0" parTransId="{7E08B858-592C-47F8-877D-E38309C6F815}" sibTransId="{0881023B-5F7F-4588-A0A7-4B776E9FD7B7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29143241-EA68-4B63-8A18-C4FFD537A3EC}" type="presOf" srcId="{62D32E80-FEA0-48C5-B4F3-D3A7B382CF4D}" destId="{AB09D624-FF1B-4987-8110-30D214096F41}" srcOrd="0" destOrd="0" presId="urn:microsoft.com/office/officeart/2005/8/layout/hList1"/>
    <dgm:cxn modelId="{DFF4FC84-0AF1-4823-B111-24E4E6271503}" type="presOf" srcId="{763126DE-91F3-4E93-BBEE-F335AE19DEC3}" destId="{AB09D624-FF1B-4987-8110-30D214096F41}" srcOrd="0" destOrd="1" presId="urn:microsoft.com/office/officeart/2005/8/layout/hList1"/>
    <dgm:cxn modelId="{0317FF63-5C8D-4B7F-B11F-D82DE7F62682}" type="presOf" srcId="{CF84DDC2-96BF-432F-AA37-B7281110F630}" destId="{351DADD5-826D-416B-84E5-26678C386891}" srcOrd="0" destOrd="0" presId="urn:microsoft.com/office/officeart/2005/8/layout/hList1"/>
    <dgm:cxn modelId="{19630BE3-02F2-4B6F-B64C-EC4D00A49AF5}" type="presOf" srcId="{52B37DA3-4A07-4D40-8427-487799B28523}" destId="{AB09D624-FF1B-4987-8110-30D214096F41}" srcOrd="0" destOrd="4" presId="urn:microsoft.com/office/officeart/2005/8/layout/hList1"/>
    <dgm:cxn modelId="{26708DCE-824E-4884-ADDA-0F712B6213DA}" type="presOf" srcId="{957E530B-D065-4382-810F-C543F1547E69}" destId="{AB09D624-FF1B-4987-8110-30D214096F41}" srcOrd="0" destOrd="3" presId="urn:microsoft.com/office/officeart/2005/8/layout/hList1"/>
    <dgm:cxn modelId="{D03134B0-6D90-4EBA-B964-683BFC7F3B21}" srcId="{3256AD19-79D9-4DD2-BD85-48D74080CB17}" destId="{52B37DA3-4A07-4D40-8427-487799B28523}" srcOrd="4" destOrd="0" parTransId="{2E6FDB84-3344-49A7-8CE7-28A3DE6AA84C}" sibTransId="{87E8E805-BF42-4EAB-AEEF-BF0B0EEC9399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F058BC56-60C9-4A75-8FD1-D92CBB300393}" type="presOf" srcId="{3256AD19-79D9-4DD2-BD85-48D74080CB17}" destId="{FFC2669E-6EFE-4306-9BF4-0E6FE39D4B43}" srcOrd="0" destOrd="0" presId="urn:microsoft.com/office/officeart/2005/8/layout/hList1"/>
    <dgm:cxn modelId="{95C32E1D-D638-4745-A8FF-4E9F5E35C31A}" srcId="{3256AD19-79D9-4DD2-BD85-48D74080CB17}" destId="{957E530B-D065-4382-810F-C543F1547E69}" srcOrd="3" destOrd="0" parTransId="{741A4C6B-3444-4DEF-A15A-85ABCB960F91}" sibTransId="{079EDF31-6A8F-4408-B20D-E1C3DBB40DA0}"/>
    <dgm:cxn modelId="{2A4078F7-F832-4F06-8CB5-4BB2D26E42A4}" type="presOf" srcId="{11ACE0FA-0B3F-4233-A116-3E6385603426}" destId="{AB09D624-FF1B-4987-8110-30D214096F41}" srcOrd="0" destOrd="2" presId="urn:microsoft.com/office/officeart/2005/8/layout/hList1"/>
    <dgm:cxn modelId="{090AD7ED-7225-4563-BDE1-CEE851149A3D}" type="presParOf" srcId="{351DADD5-826D-416B-84E5-26678C386891}" destId="{78A07495-0AF3-45E3-8386-C0DF5FF5E438}" srcOrd="0" destOrd="0" presId="urn:microsoft.com/office/officeart/2005/8/layout/hList1"/>
    <dgm:cxn modelId="{88E61133-2B8D-4859-AC08-12185D667C52}" type="presParOf" srcId="{78A07495-0AF3-45E3-8386-C0DF5FF5E438}" destId="{FFC2669E-6EFE-4306-9BF4-0E6FE39D4B43}" srcOrd="0" destOrd="0" presId="urn:microsoft.com/office/officeart/2005/8/layout/hList1"/>
    <dgm:cxn modelId="{8904F418-AE04-4FEC-B2AC-EEFF5BE6644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1400" dirty="0" smtClean="0"/>
            <a:t>Metas</a:t>
          </a:r>
          <a:endParaRPr lang="es-CO" sz="14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100" dirty="0" smtClean="0"/>
            <a:t>Ejecución de programas sociales.</a:t>
          </a:r>
          <a:endParaRPr lang="es-CO" sz="11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BF0929D4-A013-4189-BDC5-9E2471DA65F3}">
      <dgm:prSet phldrT="[Texto]" custT="1"/>
      <dgm:spPr/>
      <dgm:t>
        <a:bodyPr/>
        <a:lstStyle/>
        <a:p>
          <a:r>
            <a:rPr lang="es-CO" sz="1100" dirty="0" smtClean="0"/>
            <a:t>Operación y mantenimiento del corredor vial.</a:t>
          </a:r>
          <a:endParaRPr lang="es-CO" sz="1100" dirty="0"/>
        </a:p>
      </dgm:t>
    </dgm:pt>
    <dgm:pt modelId="{42352C6E-4B28-466E-AA3B-08D6A3BB7A0F}" type="parTrans" cxnId="{9479CAA2-1EBC-49E6-83D8-CE2BD9BCF43D}">
      <dgm:prSet/>
      <dgm:spPr/>
      <dgm:t>
        <a:bodyPr/>
        <a:lstStyle/>
        <a:p>
          <a:endParaRPr lang="es-CO"/>
        </a:p>
      </dgm:t>
    </dgm:pt>
    <dgm:pt modelId="{479B86A9-2C19-436C-8CCB-01A492026A75}" type="sibTrans" cxnId="{9479CAA2-1EBC-49E6-83D8-CE2BD9BCF43D}">
      <dgm:prSet/>
      <dgm:spPr/>
      <dgm:t>
        <a:bodyPr/>
        <a:lstStyle/>
        <a:p>
          <a:endParaRPr lang="es-CO"/>
        </a:p>
      </dgm:t>
    </dgm:pt>
    <dgm:pt modelId="{71771455-A18B-4085-A249-C69E245C33F0}">
      <dgm:prSet phldrT="[Texto]" custT="1"/>
      <dgm:spPr/>
      <dgm:t>
        <a:bodyPr/>
        <a:lstStyle/>
        <a:p>
          <a:r>
            <a:rPr lang="es-CO" sz="1100" dirty="0" smtClean="0"/>
            <a:t>Actividades encaminadas a mejorar la seguridad vial del proyecto.</a:t>
          </a:r>
          <a:endParaRPr lang="es-CO" sz="1100" dirty="0"/>
        </a:p>
      </dgm:t>
    </dgm:pt>
    <dgm:pt modelId="{E7D3EEEE-DAC4-40CA-BFD2-4B5AD19B65A2}" type="parTrans" cxnId="{B7311D12-5452-4D1E-8C08-8788DD06E1B6}">
      <dgm:prSet/>
      <dgm:spPr/>
      <dgm:t>
        <a:bodyPr/>
        <a:lstStyle/>
        <a:p>
          <a:endParaRPr lang="es-CO"/>
        </a:p>
      </dgm:t>
    </dgm:pt>
    <dgm:pt modelId="{B0CEBC57-E116-4703-9557-6D3D3FB7A89F}" type="sibTrans" cxnId="{B7311D12-5452-4D1E-8C08-8788DD06E1B6}">
      <dgm:prSet/>
      <dgm:spPr/>
      <dgm:t>
        <a:bodyPr/>
        <a:lstStyle/>
        <a:p>
          <a:endParaRPr lang="es-CO"/>
        </a:p>
      </dgm:t>
    </dgm:pt>
    <dgm:pt modelId="{B76B31A4-77A4-404A-AB7F-C851B07D07D3}">
      <dgm:prSet phldrT="[Texto]" custT="1"/>
      <dgm:spPr/>
      <dgm:t>
        <a:bodyPr/>
        <a:lstStyle/>
        <a:p>
          <a:r>
            <a:rPr lang="es-CO" sz="1100" dirty="0" smtClean="0"/>
            <a:t>Reversión de la vía al 10 de Octubre del presente año.</a:t>
          </a:r>
          <a:endParaRPr lang="es-CO" sz="1100" dirty="0"/>
        </a:p>
      </dgm:t>
    </dgm:pt>
    <dgm:pt modelId="{85541EB4-7FC3-49D1-A85E-F2235DF7FC08}" type="parTrans" cxnId="{FFE90CAD-6FF4-4D00-88CC-CC2FD56ADB4F}">
      <dgm:prSet/>
      <dgm:spPr/>
      <dgm:t>
        <a:bodyPr/>
        <a:lstStyle/>
        <a:p>
          <a:endParaRPr lang="es-CO"/>
        </a:p>
      </dgm:t>
    </dgm:pt>
    <dgm:pt modelId="{BB0B39CB-38CB-4DD0-9709-54CDD794666B}" type="sibTrans" cxnId="{FFE90CAD-6FF4-4D00-88CC-CC2FD56ADB4F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212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1973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D983221-0218-45F0-ACEF-68103DCF1AA4}" type="presOf" srcId="{CF84DDC2-96BF-432F-AA37-B7281110F630}" destId="{351DADD5-826D-416B-84E5-26678C386891}" srcOrd="0" destOrd="0" presId="urn:microsoft.com/office/officeart/2005/8/layout/hList1"/>
    <dgm:cxn modelId="{847F98E1-6178-4106-AAC9-8D7FB3DAF02F}" type="presOf" srcId="{BF0929D4-A013-4189-BDC5-9E2471DA65F3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B7311D12-5452-4D1E-8C08-8788DD06E1B6}" srcId="{3256AD19-79D9-4DD2-BD85-48D74080CB17}" destId="{71771455-A18B-4085-A249-C69E245C33F0}" srcOrd="2" destOrd="0" parTransId="{E7D3EEEE-DAC4-40CA-BFD2-4B5AD19B65A2}" sibTransId="{B0CEBC57-E116-4703-9557-6D3D3FB7A89F}"/>
    <dgm:cxn modelId="{9479CAA2-1EBC-49E6-83D8-CE2BD9BCF43D}" srcId="{3256AD19-79D9-4DD2-BD85-48D74080CB17}" destId="{BF0929D4-A013-4189-BDC5-9E2471DA65F3}" srcOrd="1" destOrd="0" parTransId="{42352C6E-4B28-466E-AA3B-08D6A3BB7A0F}" sibTransId="{479B86A9-2C19-436C-8CCB-01A492026A75}"/>
    <dgm:cxn modelId="{FFE90CAD-6FF4-4D00-88CC-CC2FD56ADB4F}" srcId="{3256AD19-79D9-4DD2-BD85-48D74080CB17}" destId="{B76B31A4-77A4-404A-AB7F-C851B07D07D3}" srcOrd="3" destOrd="0" parTransId="{85541EB4-7FC3-49D1-A85E-F2235DF7FC08}" sibTransId="{BB0B39CB-38CB-4DD0-9709-54CDD794666B}"/>
    <dgm:cxn modelId="{470C3AD9-F18B-4837-B061-0816724E072B}" type="presOf" srcId="{62D32E80-FEA0-48C5-B4F3-D3A7B382CF4D}" destId="{AB09D624-FF1B-4987-8110-30D214096F41}" srcOrd="0" destOrd="0" presId="urn:microsoft.com/office/officeart/2005/8/layout/hList1"/>
    <dgm:cxn modelId="{6B716520-E486-4E87-BC44-2725F3F6E6FF}" type="presOf" srcId="{B76B31A4-77A4-404A-AB7F-C851B07D07D3}" destId="{AB09D624-FF1B-4987-8110-30D214096F41}" srcOrd="0" destOrd="3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7C134198-11C9-4F98-AA0E-AC5AC3DA3E72}" type="presOf" srcId="{3256AD19-79D9-4DD2-BD85-48D74080CB17}" destId="{FFC2669E-6EFE-4306-9BF4-0E6FE39D4B43}" srcOrd="0" destOrd="0" presId="urn:microsoft.com/office/officeart/2005/8/layout/hList1"/>
    <dgm:cxn modelId="{B7A57BA5-737F-4099-94C5-99B256D02D16}" type="presOf" srcId="{71771455-A18B-4085-A249-C69E245C33F0}" destId="{AB09D624-FF1B-4987-8110-30D214096F41}" srcOrd="0" destOrd="2" presId="urn:microsoft.com/office/officeart/2005/8/layout/hList1"/>
    <dgm:cxn modelId="{F2DA19B9-4F9C-41C1-B298-20DA15B8366A}" type="presParOf" srcId="{351DADD5-826D-416B-84E5-26678C386891}" destId="{78A07495-0AF3-45E3-8386-C0DF5FF5E438}" srcOrd="0" destOrd="0" presId="urn:microsoft.com/office/officeart/2005/8/layout/hList1"/>
    <dgm:cxn modelId="{434011EC-995D-4504-BEEF-9A7C36582199}" type="presParOf" srcId="{78A07495-0AF3-45E3-8386-C0DF5FF5E438}" destId="{FFC2669E-6EFE-4306-9BF4-0E6FE39D4B43}" srcOrd="0" destOrd="0" presId="urn:microsoft.com/office/officeart/2005/8/layout/hList1"/>
    <dgm:cxn modelId="{F3A84843-D953-4CD9-B957-F132E8B47D4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000" dirty="0"/>
            <a:t>Construcción Segunda Calzada: 0,72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E5B466C-9D22-4995-9FA0-E32DB0043248}">
      <dgm:prSet phldrT="[Texto]" custT="1"/>
      <dgm:spPr/>
      <dgm:t>
        <a:bodyPr/>
        <a:lstStyle/>
        <a:p>
          <a:r>
            <a:rPr lang="es-CO" sz="2000" dirty="0"/>
            <a:t>Mejoramiento: 0 km</a:t>
          </a:r>
        </a:p>
      </dgm:t>
    </dgm:pt>
    <dgm:pt modelId="{55962AC5-626B-41C3-8654-56EB82329165}" type="parTrans" cxnId="{1A47FB14-AEDD-49CB-A23D-E8CF3E03D5C9}">
      <dgm:prSet/>
      <dgm:spPr/>
      <dgm:t>
        <a:bodyPr/>
        <a:lstStyle/>
        <a:p>
          <a:endParaRPr lang="es-CO"/>
        </a:p>
      </dgm:t>
    </dgm:pt>
    <dgm:pt modelId="{8D463190-FFA3-4048-80B8-055A08667A06}" type="sibTrans" cxnId="{1A47FB14-AEDD-49CB-A23D-E8CF3E03D5C9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821" custLinFactNeighborY="-4524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EE3CF3C-EDC0-4DFA-9F1F-F48C4A5435DE}" type="presOf" srcId="{0E5B466C-9D22-4995-9FA0-E32DB0043248}" destId="{AB09D624-FF1B-4987-8110-30D214096F41}" srcOrd="0" destOrd="1" presId="urn:microsoft.com/office/officeart/2005/8/layout/hList1"/>
    <dgm:cxn modelId="{1A47FB14-AEDD-49CB-A23D-E8CF3E03D5C9}" srcId="{3256AD19-79D9-4DD2-BD85-48D74080CB17}" destId="{0E5B466C-9D22-4995-9FA0-E32DB0043248}" srcOrd="1" destOrd="0" parTransId="{55962AC5-626B-41C3-8654-56EB82329165}" sibTransId="{8D463190-FFA3-4048-80B8-055A08667A06}"/>
    <dgm:cxn modelId="{7B35B094-B011-4806-9726-952003BC6F33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D8A1C95B-90FC-40A5-840E-420A8EF0E1FF}" type="presOf" srcId="{CF84DDC2-96BF-432F-AA37-B7281110F630}" destId="{351DADD5-826D-416B-84E5-26678C38689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FC0849F4-9FBB-4AA4-8B6C-91766C52148B}" type="presOf" srcId="{3256AD19-79D9-4DD2-BD85-48D74080CB17}" destId="{FFC2669E-6EFE-4306-9BF4-0E6FE39D4B43}" srcOrd="0" destOrd="0" presId="urn:microsoft.com/office/officeart/2005/8/layout/hList1"/>
    <dgm:cxn modelId="{4141CE4C-A2E9-4145-ADE0-D0BCFE11673A}" type="presParOf" srcId="{351DADD5-826D-416B-84E5-26678C386891}" destId="{78A07495-0AF3-45E3-8386-C0DF5FF5E438}" srcOrd="0" destOrd="0" presId="urn:microsoft.com/office/officeart/2005/8/layout/hList1"/>
    <dgm:cxn modelId="{D196D4E3-D0A7-49A7-BD80-F9DA95D447A5}" type="presParOf" srcId="{78A07495-0AF3-45E3-8386-C0DF5FF5E438}" destId="{FFC2669E-6EFE-4306-9BF4-0E6FE39D4B43}" srcOrd="0" destOrd="0" presId="urn:microsoft.com/office/officeart/2005/8/layout/hList1"/>
    <dgm:cxn modelId="{1F088F56-D1EC-478F-98AE-F9560AA92740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400" dirty="0" smtClean="0"/>
            <a:t>Avances</a:t>
          </a:r>
          <a:endParaRPr lang="es-CO" sz="14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Actualmente se están ejecutando los programas sociales Lácteos La </a:t>
          </a:r>
          <a:r>
            <a:rPr lang="es-CO" dirty="0" err="1" smtClean="0"/>
            <a:t>Yolomba</a:t>
          </a:r>
          <a:r>
            <a:rPr lang="es-CO" dirty="0" smtClean="0"/>
            <a:t> y Vivero Sabaletas, con la colaboración del SENA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5C1AE6DE-6769-43EA-B19F-6A8C5E13E8EA}">
      <dgm:prSet phldrT="[Texto]"/>
      <dgm:spPr/>
      <dgm:t>
        <a:bodyPr/>
        <a:lstStyle/>
        <a:p>
          <a:r>
            <a:rPr lang="es-CO" dirty="0" smtClean="0"/>
            <a:t>Actualmente Interventoría y Concesionario se encuentran revisando formatos de reversión, en Junio del presente año se comenzaran a diligenciar junto con funcionarios de la Agencia.</a:t>
          </a:r>
          <a:endParaRPr lang="es-CO" dirty="0"/>
        </a:p>
      </dgm:t>
    </dgm:pt>
    <dgm:pt modelId="{DDB6326F-4F62-4A6B-8B38-B6956ABAEE84}" type="parTrans" cxnId="{3DF3107F-C2B4-4CD2-B9D1-BD3189D97479}">
      <dgm:prSet/>
      <dgm:spPr/>
      <dgm:t>
        <a:bodyPr/>
        <a:lstStyle/>
        <a:p>
          <a:endParaRPr lang="es-CO"/>
        </a:p>
      </dgm:t>
    </dgm:pt>
    <dgm:pt modelId="{A3A296FF-5751-46A4-AEAD-862C74934580}" type="sibTrans" cxnId="{3DF3107F-C2B4-4CD2-B9D1-BD3189D97479}">
      <dgm:prSet/>
      <dgm:spPr/>
      <dgm:t>
        <a:bodyPr/>
        <a:lstStyle/>
        <a:p>
          <a:endParaRPr lang="es-CO"/>
        </a:p>
      </dgm:t>
    </dgm:pt>
    <dgm:pt modelId="{6D18A681-CE5B-476C-939B-43F4B984ECB5}">
      <dgm:prSet phldrT="[Texto]"/>
      <dgm:spPr/>
      <dgm:t>
        <a:bodyPr/>
        <a:lstStyle/>
        <a:p>
          <a:r>
            <a:rPr lang="es-CO" dirty="0" smtClean="0"/>
            <a:t>Se ejecutó mantenimiento de las lozas más afectadas del peaje Loboguerrero entre el 21 y 26 de marzo del presente año.</a:t>
          </a:r>
          <a:endParaRPr lang="es-CO" dirty="0"/>
        </a:p>
      </dgm:t>
    </dgm:pt>
    <dgm:pt modelId="{617C5394-5DB9-41B8-A91E-69AF99E795FD}" type="parTrans" cxnId="{2000A847-0CD4-4B79-B004-D34307170FB3}">
      <dgm:prSet/>
      <dgm:spPr/>
      <dgm:t>
        <a:bodyPr/>
        <a:lstStyle/>
        <a:p>
          <a:endParaRPr lang="es-CO"/>
        </a:p>
      </dgm:t>
    </dgm:pt>
    <dgm:pt modelId="{AA38BDE8-01F7-4732-9CF1-A51E412E91E9}" type="sibTrans" cxnId="{2000A847-0CD4-4B79-B004-D34307170FB3}">
      <dgm:prSet/>
      <dgm:spPr/>
      <dgm:t>
        <a:bodyPr/>
        <a:lstStyle/>
        <a:p>
          <a:endParaRPr lang="es-CO"/>
        </a:p>
      </dgm:t>
    </dgm:pt>
    <dgm:pt modelId="{A26F0DEE-9691-49D6-94A2-307FF991F95C}">
      <dgm:prSet phldrT="[Texto]"/>
      <dgm:spPr/>
      <dgm:t>
        <a:bodyPr/>
        <a:lstStyle/>
        <a:p>
          <a:r>
            <a:rPr lang="es-CO" dirty="0" smtClean="0"/>
            <a:t>Mantenimiento rutinario al corredor vial y se priorizan bacheos de acuerdo a los resultados de los indicadores e índices de estado.</a:t>
          </a:r>
          <a:endParaRPr lang="es-CO" dirty="0"/>
        </a:p>
      </dgm:t>
    </dgm:pt>
    <dgm:pt modelId="{861B7E04-FBE9-44A2-9F1B-7FA2B03280C8}" type="parTrans" cxnId="{6DB3BABF-646F-4FD4-A94B-EF0BF34E26B6}">
      <dgm:prSet/>
      <dgm:spPr/>
      <dgm:t>
        <a:bodyPr/>
        <a:lstStyle/>
        <a:p>
          <a:endParaRPr lang="es-MX"/>
        </a:p>
      </dgm:t>
    </dgm:pt>
    <dgm:pt modelId="{B20DADEA-26BB-4E5D-B032-D349273D664A}" type="sibTrans" cxnId="{6DB3BABF-646F-4FD4-A94B-EF0BF34E26B6}">
      <dgm:prSet/>
      <dgm:spPr/>
      <dgm:t>
        <a:bodyPr/>
        <a:lstStyle/>
        <a:p>
          <a:endParaRPr lang="es-MX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157457" custLinFactNeighborY="-51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0358" custLinFactNeighborX="1430" custLinFactNeighborY="-92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DB3BABF-646F-4FD4-A94B-EF0BF34E26B6}" srcId="{3256AD19-79D9-4DD2-BD85-48D74080CB17}" destId="{A26F0DEE-9691-49D6-94A2-307FF991F95C}" srcOrd="1" destOrd="0" parTransId="{861B7E04-FBE9-44A2-9F1B-7FA2B03280C8}" sibTransId="{B20DADEA-26BB-4E5D-B032-D349273D664A}"/>
    <dgm:cxn modelId="{FC048947-2A36-4091-B571-767DB8EBAC76}" type="presOf" srcId="{3256AD19-79D9-4DD2-BD85-48D74080CB17}" destId="{FFC2669E-6EFE-4306-9BF4-0E6FE39D4B43}" srcOrd="0" destOrd="0" presId="urn:microsoft.com/office/officeart/2005/8/layout/hList1"/>
    <dgm:cxn modelId="{E1D9334C-70CC-41FB-8200-863E4F46E5EA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3DF3107F-C2B4-4CD2-B9D1-BD3189D97479}" srcId="{3256AD19-79D9-4DD2-BD85-48D74080CB17}" destId="{5C1AE6DE-6769-43EA-B19F-6A8C5E13E8EA}" srcOrd="3" destOrd="0" parTransId="{DDB6326F-4F62-4A6B-8B38-B6956ABAEE84}" sibTransId="{A3A296FF-5751-46A4-AEAD-862C74934580}"/>
    <dgm:cxn modelId="{E7A0CAE6-FDDA-4BD2-9936-AB4D92F48309}" type="presOf" srcId="{A26F0DEE-9691-49D6-94A2-307FF991F95C}" destId="{AB09D624-FF1B-4987-8110-30D214096F41}" srcOrd="0" destOrd="1" presId="urn:microsoft.com/office/officeart/2005/8/layout/hList1"/>
    <dgm:cxn modelId="{71A082CD-BD41-4285-8D6B-500F7404512C}" type="presOf" srcId="{5C1AE6DE-6769-43EA-B19F-6A8C5E13E8EA}" destId="{AB09D624-FF1B-4987-8110-30D214096F41}" srcOrd="0" destOrd="3" presId="urn:microsoft.com/office/officeart/2005/8/layout/hList1"/>
    <dgm:cxn modelId="{2000A847-0CD4-4B79-B004-D34307170FB3}" srcId="{3256AD19-79D9-4DD2-BD85-48D74080CB17}" destId="{6D18A681-CE5B-476C-939B-43F4B984ECB5}" srcOrd="2" destOrd="0" parTransId="{617C5394-5DB9-41B8-A91E-69AF99E795FD}" sibTransId="{AA38BDE8-01F7-4732-9CF1-A51E412E91E9}"/>
    <dgm:cxn modelId="{A8D954F1-67B3-4EFA-9966-13CE1BC1A62A}" type="presOf" srcId="{6D18A681-CE5B-476C-939B-43F4B984ECB5}" destId="{AB09D624-FF1B-4987-8110-30D214096F41}" srcOrd="0" destOrd="2" presId="urn:microsoft.com/office/officeart/2005/8/layout/hList1"/>
    <dgm:cxn modelId="{4F31CC0A-4103-4C6A-A295-EA9D1C62A247}" type="presOf" srcId="{62D32E80-FEA0-48C5-B4F3-D3A7B382CF4D}" destId="{AB09D624-FF1B-4987-8110-30D214096F4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839A42A-41B9-40D7-A5C7-515804C67B5E}" type="presParOf" srcId="{351DADD5-826D-416B-84E5-26678C386891}" destId="{78A07495-0AF3-45E3-8386-C0DF5FF5E438}" srcOrd="0" destOrd="0" presId="urn:microsoft.com/office/officeart/2005/8/layout/hList1"/>
    <dgm:cxn modelId="{98F406D9-2C8D-4367-AFF2-EFA775C7A604}" type="presParOf" srcId="{78A07495-0AF3-45E3-8386-C0DF5FF5E438}" destId="{FFC2669E-6EFE-4306-9BF4-0E6FE39D4B43}" srcOrd="0" destOrd="0" presId="urn:microsoft.com/office/officeart/2005/8/layout/hList1"/>
    <dgm:cxn modelId="{F97A190D-22C4-4902-87F2-A4C1311D6518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Realizar Operación y Mantenimiento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1E6C4C7-8202-4D5A-B755-B498A9D4A59C}">
      <dgm:prSet phldrT="[Texto]"/>
      <dgm:spPr/>
      <dgm:t>
        <a:bodyPr/>
        <a:lstStyle/>
        <a:p>
          <a:r>
            <a:rPr lang="es-CO" dirty="0" smtClean="0"/>
            <a:t>Revisar Informe de Interventoría</a:t>
          </a:r>
          <a:endParaRPr lang="es-CO" dirty="0"/>
        </a:p>
      </dgm:t>
    </dgm:pt>
    <dgm:pt modelId="{BF608E64-915B-4E19-AD46-1D3A1D0A2E34}" type="parTrans" cxnId="{F1CD5C22-E074-40B5-9D7E-E234011938AE}">
      <dgm:prSet/>
      <dgm:spPr/>
      <dgm:t>
        <a:bodyPr/>
        <a:lstStyle/>
        <a:p>
          <a:endParaRPr lang="es-ES"/>
        </a:p>
      </dgm:t>
    </dgm:pt>
    <dgm:pt modelId="{7FE4931F-FCB9-49EB-9FDD-D390B25C2608}" type="sibTrans" cxnId="{F1CD5C22-E074-40B5-9D7E-E234011938AE}">
      <dgm:prSet/>
      <dgm:spPr/>
      <dgm:t>
        <a:bodyPr/>
        <a:lstStyle/>
        <a:p>
          <a:endParaRPr lang="es-ES"/>
        </a:p>
      </dgm:t>
    </dgm:pt>
    <dgm:pt modelId="{ACFCE9D6-E6B1-46DE-9727-5608938A7BA0}">
      <dgm:prSet phldrT="[Texto]"/>
      <dgm:spPr/>
      <dgm:t>
        <a:bodyPr/>
        <a:lstStyle/>
        <a:p>
          <a:r>
            <a:rPr lang="es-CO" dirty="0" smtClean="0"/>
            <a:t>Realizar Informe de Supervisión</a:t>
          </a:r>
          <a:endParaRPr lang="es-CO" dirty="0"/>
        </a:p>
      </dgm:t>
    </dgm:pt>
    <dgm:pt modelId="{43D6BCFE-51D5-4407-9802-C33FC7EEC2E7}" type="parTrans" cxnId="{6779A5A6-D267-4F25-9BF3-8099F2A5E938}">
      <dgm:prSet/>
      <dgm:spPr/>
      <dgm:t>
        <a:bodyPr/>
        <a:lstStyle/>
        <a:p>
          <a:endParaRPr lang="es-ES"/>
        </a:p>
      </dgm:t>
    </dgm:pt>
    <dgm:pt modelId="{93B86397-3259-4B15-93DC-7821CAC7A530}" type="sibTrans" cxnId="{6779A5A6-D267-4F25-9BF3-8099F2A5E938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182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4CF4E5F-B9F8-4428-ABA3-121A1CC51825}" type="presOf" srcId="{ACFCE9D6-E6B1-46DE-9727-5608938A7BA0}" destId="{AB09D624-FF1B-4987-8110-30D214096F41}" srcOrd="0" destOrd="2" presId="urn:microsoft.com/office/officeart/2005/8/layout/hList1"/>
    <dgm:cxn modelId="{09D99815-585C-4A94-979E-4A50E54ADC2C}" type="presOf" srcId="{62D32E80-FEA0-48C5-B4F3-D3A7B382CF4D}" destId="{AB09D624-FF1B-4987-8110-30D214096F41}" srcOrd="0" destOrd="0" presId="urn:microsoft.com/office/officeart/2005/8/layout/hList1"/>
    <dgm:cxn modelId="{5A8C2EFC-74C6-4560-BA3B-4BF1FC5CED86}" type="presOf" srcId="{CF84DDC2-96BF-432F-AA37-B7281110F630}" destId="{351DADD5-826D-416B-84E5-26678C386891}" srcOrd="0" destOrd="0" presId="urn:microsoft.com/office/officeart/2005/8/layout/hList1"/>
    <dgm:cxn modelId="{9BB657D4-BE7A-4A4B-8C30-4D30350AA39B}" type="presOf" srcId="{81E6C4C7-8202-4D5A-B755-B498A9D4A59C}" destId="{AB09D624-FF1B-4987-8110-30D214096F41}" srcOrd="0" destOrd="1" presId="urn:microsoft.com/office/officeart/2005/8/layout/hList1"/>
    <dgm:cxn modelId="{6779A5A6-D267-4F25-9BF3-8099F2A5E938}" srcId="{3256AD19-79D9-4DD2-BD85-48D74080CB17}" destId="{ACFCE9D6-E6B1-46DE-9727-5608938A7BA0}" srcOrd="2" destOrd="0" parTransId="{43D6BCFE-51D5-4407-9802-C33FC7EEC2E7}" sibTransId="{93B86397-3259-4B15-93DC-7821CAC7A530}"/>
    <dgm:cxn modelId="{F1CD5C22-E074-40B5-9D7E-E234011938AE}" srcId="{3256AD19-79D9-4DD2-BD85-48D74080CB17}" destId="{81E6C4C7-8202-4D5A-B755-B498A9D4A59C}" srcOrd="1" destOrd="0" parTransId="{BF608E64-915B-4E19-AD46-1D3A1D0A2E34}" sibTransId="{7FE4931F-FCB9-49EB-9FDD-D390B25C2608}"/>
    <dgm:cxn modelId="{E6A9E122-1DFE-4FA4-B318-DE100912BC50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92C39C5-C2C4-496E-9272-9B64F2D99B8B}" type="presParOf" srcId="{351DADD5-826D-416B-84E5-26678C386891}" destId="{78A07495-0AF3-45E3-8386-C0DF5FF5E438}" srcOrd="0" destOrd="0" presId="urn:microsoft.com/office/officeart/2005/8/layout/hList1"/>
    <dgm:cxn modelId="{C25AB471-B890-4D31-809A-FF30972BA192}" type="presParOf" srcId="{78A07495-0AF3-45E3-8386-C0DF5FF5E438}" destId="{FFC2669E-6EFE-4306-9BF4-0E6FE39D4B43}" srcOrd="0" destOrd="0" presId="urn:microsoft.com/office/officeart/2005/8/layout/hList1"/>
    <dgm:cxn modelId="{DF3387E3-BEE1-4148-9BCB-1A1FA6BBD392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800" smtClean="0"/>
            <a:t>Avances</a:t>
          </a:r>
          <a:endParaRPr lang="es-CO" sz="18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EBCEE3C9-175B-449A-8EDB-1B3EC64ECD95}">
      <dgm:prSet phldrT="[Texto]" custT="1"/>
      <dgm:spPr/>
      <dgm:t>
        <a:bodyPr/>
        <a:lstStyle/>
        <a:p>
          <a:r>
            <a:rPr lang="es-CO" sz="1500" dirty="0" smtClean="0"/>
            <a:t>100%. Se revisa por el grupo de trabajo los informes mensuales de Interventoría.</a:t>
          </a:r>
          <a:endParaRPr lang="es-CO" sz="1500" dirty="0"/>
        </a:p>
      </dgm:t>
    </dgm:pt>
    <dgm:pt modelId="{6F1B519C-09BC-4670-8647-1CB33C61245E}" type="parTrans" cxnId="{5D5F26AC-7358-4995-A2E7-14AC83EA907F}">
      <dgm:prSet/>
      <dgm:spPr/>
      <dgm:t>
        <a:bodyPr/>
        <a:lstStyle/>
        <a:p>
          <a:endParaRPr lang="es-ES"/>
        </a:p>
      </dgm:t>
    </dgm:pt>
    <dgm:pt modelId="{9ADDFDCE-0E3C-440A-A7BE-F5EF1FD9B45E}" type="sibTrans" cxnId="{5D5F26AC-7358-4995-A2E7-14AC83EA907F}">
      <dgm:prSet/>
      <dgm:spPr/>
      <dgm:t>
        <a:bodyPr/>
        <a:lstStyle/>
        <a:p>
          <a:endParaRPr lang="es-ES"/>
        </a:p>
      </dgm:t>
    </dgm:pt>
    <dgm:pt modelId="{3B2DC980-D5F9-4515-A7AF-2B4DD1F8D7A3}">
      <dgm:prSet phldrT="[Texto]" custT="1"/>
      <dgm:spPr/>
      <dgm:t>
        <a:bodyPr/>
        <a:lstStyle/>
        <a:p>
          <a:r>
            <a:rPr lang="es-CO" sz="1500" dirty="0" smtClean="0"/>
            <a:t>100%. Se elabora los Informes mensuales de supervisión.</a:t>
          </a:r>
          <a:endParaRPr lang="es-CO" sz="1500" dirty="0"/>
        </a:p>
      </dgm:t>
    </dgm:pt>
    <dgm:pt modelId="{489C8429-08AB-41D0-A28A-0A2A4CD9D718}" type="parTrans" cxnId="{9A7506AC-E817-4584-86B4-2C3A4B44D0DC}">
      <dgm:prSet/>
      <dgm:spPr/>
      <dgm:t>
        <a:bodyPr/>
        <a:lstStyle/>
        <a:p>
          <a:endParaRPr lang="es-ES"/>
        </a:p>
      </dgm:t>
    </dgm:pt>
    <dgm:pt modelId="{F8F4AFB9-61FB-4B98-B2E5-78E67C23A2F0}" type="sibTrans" cxnId="{9A7506AC-E817-4584-86B4-2C3A4B44D0DC}">
      <dgm:prSet/>
      <dgm:spPr/>
      <dgm:t>
        <a:bodyPr/>
        <a:lstStyle/>
        <a:p>
          <a:endParaRPr lang="es-ES"/>
        </a:p>
      </dgm:t>
    </dgm:pt>
    <dgm:pt modelId="{9BE63C45-74EA-4C9E-B7C5-72471B949E71}">
      <dgm:prSet phldrT="[Texto]" custT="1"/>
      <dgm:spPr/>
      <dgm:t>
        <a:bodyPr/>
        <a:lstStyle/>
        <a:p>
          <a:r>
            <a:rPr lang="es-CO" sz="1500" dirty="0" smtClean="0"/>
            <a:t>100%. Se realiza la operación y mantenimiento del corredor concesionado.</a:t>
          </a:r>
          <a:endParaRPr lang="es-CO" sz="1500" dirty="0"/>
        </a:p>
      </dgm:t>
    </dgm:pt>
    <dgm:pt modelId="{B55B7A22-8BDC-4929-89C3-911BA527F23F}" type="sibTrans" cxnId="{1A982C94-F573-4D66-A7A3-2F26433A7164}">
      <dgm:prSet/>
      <dgm:spPr/>
      <dgm:t>
        <a:bodyPr/>
        <a:lstStyle/>
        <a:p>
          <a:endParaRPr lang="es-ES"/>
        </a:p>
      </dgm:t>
    </dgm:pt>
    <dgm:pt modelId="{57417C88-ED83-4BB5-9DB1-1DAFECD817AD}" type="parTrans" cxnId="{1A982C94-F573-4D66-A7A3-2F26433A7164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98" custLinFactNeighborY="-36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89079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92B0820-A0BF-4DAD-907A-B17831F24B08}" type="presOf" srcId="{9BE63C45-74EA-4C9E-B7C5-72471B949E71}" destId="{AB09D624-FF1B-4987-8110-30D214096F41}" srcOrd="0" destOrd="0" presId="urn:microsoft.com/office/officeart/2005/8/layout/hList1"/>
    <dgm:cxn modelId="{6BF6B634-56A8-4D1D-87E2-BB5FCDBE8BDD}" type="presOf" srcId="{3256AD19-79D9-4DD2-BD85-48D74080CB17}" destId="{FFC2669E-6EFE-4306-9BF4-0E6FE39D4B43}" srcOrd="0" destOrd="0" presId="urn:microsoft.com/office/officeart/2005/8/layout/hList1"/>
    <dgm:cxn modelId="{B95F0D5C-5655-405F-9DB5-0C4200D27C2A}" type="presOf" srcId="{EBCEE3C9-175B-449A-8EDB-1B3EC64ECD95}" destId="{AB09D624-FF1B-4987-8110-30D214096F41}" srcOrd="0" destOrd="1" presId="urn:microsoft.com/office/officeart/2005/8/layout/hList1"/>
    <dgm:cxn modelId="{1E8BBF18-A569-4278-87E0-AA972FB8926E}" type="presOf" srcId="{CF84DDC2-96BF-432F-AA37-B7281110F630}" destId="{351DADD5-826D-416B-84E5-26678C386891}" srcOrd="0" destOrd="0" presId="urn:microsoft.com/office/officeart/2005/8/layout/hList1"/>
    <dgm:cxn modelId="{5D5F26AC-7358-4995-A2E7-14AC83EA907F}" srcId="{3256AD19-79D9-4DD2-BD85-48D74080CB17}" destId="{EBCEE3C9-175B-449A-8EDB-1B3EC64ECD95}" srcOrd="1" destOrd="0" parTransId="{6F1B519C-09BC-4670-8647-1CB33C61245E}" sibTransId="{9ADDFDCE-0E3C-440A-A7BE-F5EF1FD9B45E}"/>
    <dgm:cxn modelId="{1A982C94-F573-4D66-A7A3-2F26433A7164}" srcId="{3256AD19-79D9-4DD2-BD85-48D74080CB17}" destId="{9BE63C45-74EA-4C9E-B7C5-72471B949E71}" srcOrd="0" destOrd="0" parTransId="{57417C88-ED83-4BB5-9DB1-1DAFECD817AD}" sibTransId="{B55B7A22-8BDC-4929-89C3-911BA527F23F}"/>
    <dgm:cxn modelId="{E706853F-0B44-4B83-9CC8-A4BCD744FB2D}" type="presOf" srcId="{3B2DC980-D5F9-4515-A7AF-2B4DD1F8D7A3}" destId="{AB09D624-FF1B-4987-8110-30D214096F41}" srcOrd="0" destOrd="2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9A7506AC-E817-4584-86B4-2C3A4B44D0DC}" srcId="{3256AD19-79D9-4DD2-BD85-48D74080CB17}" destId="{3B2DC980-D5F9-4515-A7AF-2B4DD1F8D7A3}" srcOrd="2" destOrd="0" parTransId="{489C8429-08AB-41D0-A28A-0A2A4CD9D718}" sibTransId="{F8F4AFB9-61FB-4B98-B2E5-78E67C23A2F0}"/>
    <dgm:cxn modelId="{4AE1EA25-8803-41ED-8AB6-A9BF63117BF2}" type="presParOf" srcId="{351DADD5-826D-416B-84E5-26678C386891}" destId="{78A07495-0AF3-45E3-8386-C0DF5FF5E438}" srcOrd="0" destOrd="0" presId="urn:microsoft.com/office/officeart/2005/8/layout/hList1"/>
    <dgm:cxn modelId="{49B8AF9D-2493-4F5A-B0A2-2D63BF4433DC}" type="presParOf" srcId="{78A07495-0AF3-45E3-8386-C0DF5FF5E438}" destId="{FFC2669E-6EFE-4306-9BF4-0E6FE39D4B43}" srcOrd="0" destOrd="0" presId="urn:microsoft.com/office/officeart/2005/8/layout/hList1"/>
    <dgm:cxn modelId="{037D9247-85FE-47F1-A1BA-34E8CC2D0E1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100" dirty="0" smtClean="0"/>
            <a:t>Construcción de la segunda calzada entre el Peaje Corzo y la entrada a </a:t>
          </a:r>
          <a:r>
            <a:rPr lang="es-CO" sz="1100" dirty="0" err="1" smtClean="0"/>
            <a:t>Cartagenita</a:t>
          </a:r>
          <a:r>
            <a:rPr lang="es-CO" sz="1100" dirty="0" smtClean="0"/>
            <a:t>.</a:t>
          </a:r>
          <a:endParaRPr lang="es-CO" sz="11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7284950B-ADB6-4267-9CBE-A3251E8241D4}">
      <dgm:prSet phldrT="[Texto]" custT="1"/>
      <dgm:spPr/>
      <dgm:t>
        <a:bodyPr/>
        <a:lstStyle/>
        <a:p>
          <a:r>
            <a:rPr lang="es-CO" sz="1100" dirty="0" smtClean="0"/>
            <a:t>Construcción puente vehicular Rio Botello en el K21+300.</a:t>
          </a:r>
          <a:endParaRPr lang="es-CO" sz="1100" dirty="0"/>
        </a:p>
      </dgm:t>
    </dgm:pt>
    <dgm:pt modelId="{5AD022E7-DE08-427C-BB5C-C008BB8624CD}" type="parTrans" cxnId="{82C0629A-421B-4DC2-B5B5-E002DA1FD556}">
      <dgm:prSet/>
      <dgm:spPr/>
      <dgm:t>
        <a:bodyPr/>
        <a:lstStyle/>
        <a:p>
          <a:endParaRPr lang="es-CO"/>
        </a:p>
      </dgm:t>
    </dgm:pt>
    <dgm:pt modelId="{486FD68A-271B-42AA-8343-A799D6F95AE0}" type="sibTrans" cxnId="{82C0629A-421B-4DC2-B5B5-E002DA1FD556}">
      <dgm:prSet/>
      <dgm:spPr/>
      <dgm:t>
        <a:bodyPr/>
        <a:lstStyle/>
        <a:p>
          <a:endParaRPr lang="es-CO"/>
        </a:p>
      </dgm:t>
    </dgm:pt>
    <dgm:pt modelId="{081D7EEA-3222-4E3F-A47B-4A1518B8FB90}">
      <dgm:prSet phldrT="[Texto]" custT="1"/>
      <dgm:spPr/>
      <dgm:t>
        <a:bodyPr/>
        <a:lstStyle/>
        <a:p>
          <a:r>
            <a:rPr lang="es-CO" sz="1100" dirty="0" smtClean="0"/>
            <a:t>Construcción puente vehicular Ferrocarril en el K21+100.</a:t>
          </a:r>
          <a:endParaRPr lang="es-CO" sz="1100" dirty="0"/>
        </a:p>
      </dgm:t>
    </dgm:pt>
    <dgm:pt modelId="{B0DA466B-B0AA-4CBE-AF9F-540492C2F3F1}" type="parTrans" cxnId="{5F35B7E5-F121-4BC1-9E08-75529B68EC07}">
      <dgm:prSet/>
      <dgm:spPr/>
      <dgm:t>
        <a:bodyPr/>
        <a:lstStyle/>
        <a:p>
          <a:endParaRPr lang="es-CO"/>
        </a:p>
      </dgm:t>
    </dgm:pt>
    <dgm:pt modelId="{8AE23FFB-9A21-4285-95AF-B905A689AFF7}" type="sibTrans" cxnId="{5F35B7E5-F121-4BC1-9E08-75529B68EC07}">
      <dgm:prSet/>
      <dgm:spPr/>
      <dgm:t>
        <a:bodyPr/>
        <a:lstStyle/>
        <a:p>
          <a:endParaRPr lang="es-CO"/>
        </a:p>
      </dgm:t>
    </dgm:pt>
    <dgm:pt modelId="{A4B93B67-411E-4A78-958B-4402A1BEEE12}">
      <dgm:prSet phldrT="[Texto]" custT="1"/>
      <dgm:spPr/>
      <dgm:t>
        <a:bodyPr/>
        <a:lstStyle/>
        <a:p>
          <a:r>
            <a:rPr lang="es-CO" sz="1100" dirty="0" smtClean="0"/>
            <a:t>Iniciar la construcción de los enlaces a desnivel en los sectores de Tres Esquinas, glorieta Mosquera – La Mesa y entrada a </a:t>
          </a:r>
          <a:r>
            <a:rPr lang="es-CO" sz="1100" dirty="0" err="1" smtClean="0"/>
            <a:t>Bojacá</a:t>
          </a:r>
          <a:r>
            <a:rPr lang="es-CO" sz="1100" dirty="0" smtClean="0"/>
            <a:t>.</a:t>
          </a:r>
          <a:endParaRPr lang="es-CO" sz="1100" dirty="0"/>
        </a:p>
      </dgm:t>
    </dgm:pt>
    <dgm:pt modelId="{1F8129D0-5B65-4785-951F-F6594F9368E2}" type="parTrans" cxnId="{7FC3A202-E995-4B28-9194-DD26E9E4F645}">
      <dgm:prSet/>
      <dgm:spPr/>
      <dgm:t>
        <a:bodyPr/>
        <a:lstStyle/>
        <a:p>
          <a:endParaRPr lang="es-CO"/>
        </a:p>
      </dgm:t>
    </dgm:pt>
    <dgm:pt modelId="{A5C50C98-4FA3-400C-A127-C3824FE7E4D8}" type="sibTrans" cxnId="{7FC3A202-E995-4B28-9194-DD26E9E4F645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ABAE48DE-83C7-4DD2-81A3-F4B31175AA31}" type="presOf" srcId="{081D7EEA-3222-4E3F-A47B-4A1518B8FB90}" destId="{AB09D624-FF1B-4987-8110-30D214096F41}" srcOrd="0" destOrd="2" presId="urn:microsoft.com/office/officeart/2005/8/layout/hList1"/>
    <dgm:cxn modelId="{E922060A-3951-4397-AF39-DACDA399CE2C}" type="presOf" srcId="{7284950B-ADB6-4267-9CBE-A3251E8241D4}" destId="{AB09D624-FF1B-4987-8110-30D214096F41}" srcOrd="0" destOrd="1" presId="urn:microsoft.com/office/officeart/2005/8/layout/hList1"/>
    <dgm:cxn modelId="{5F35B7E5-F121-4BC1-9E08-75529B68EC07}" srcId="{3256AD19-79D9-4DD2-BD85-48D74080CB17}" destId="{081D7EEA-3222-4E3F-A47B-4A1518B8FB90}" srcOrd="2" destOrd="0" parTransId="{B0DA466B-B0AA-4CBE-AF9F-540492C2F3F1}" sibTransId="{8AE23FFB-9A21-4285-95AF-B905A689AFF7}"/>
    <dgm:cxn modelId="{82C0629A-421B-4DC2-B5B5-E002DA1FD556}" srcId="{3256AD19-79D9-4DD2-BD85-48D74080CB17}" destId="{7284950B-ADB6-4267-9CBE-A3251E8241D4}" srcOrd="1" destOrd="0" parTransId="{5AD022E7-DE08-427C-BB5C-C008BB8624CD}" sibTransId="{486FD68A-271B-42AA-8343-A799D6F95AE0}"/>
    <dgm:cxn modelId="{7FC3A202-E995-4B28-9194-DD26E9E4F645}" srcId="{3256AD19-79D9-4DD2-BD85-48D74080CB17}" destId="{A4B93B67-411E-4A78-958B-4402A1BEEE12}" srcOrd="3" destOrd="0" parTransId="{1F8129D0-5B65-4785-951F-F6594F9368E2}" sibTransId="{A5C50C98-4FA3-400C-A127-C3824FE7E4D8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1DD36734-660A-49B0-B1B3-7B2966AEB489}" type="presOf" srcId="{A4B93B67-411E-4A78-958B-4402A1BEEE12}" destId="{AB09D624-FF1B-4987-8110-30D214096F41}" srcOrd="0" destOrd="3" presId="urn:microsoft.com/office/officeart/2005/8/layout/hList1"/>
    <dgm:cxn modelId="{E01DA80D-A5E7-460B-ABF1-05C0DCCEF805}" type="presOf" srcId="{62D32E80-FEA0-48C5-B4F3-D3A7B382CF4D}" destId="{AB09D624-FF1B-4987-8110-30D214096F41}" srcOrd="0" destOrd="0" presId="urn:microsoft.com/office/officeart/2005/8/layout/hList1"/>
    <dgm:cxn modelId="{59BA2EED-082A-4C8D-844D-405821F33E6B}" type="presOf" srcId="{CF84DDC2-96BF-432F-AA37-B7281110F630}" destId="{351DADD5-826D-416B-84E5-26678C386891}" srcOrd="0" destOrd="0" presId="urn:microsoft.com/office/officeart/2005/8/layout/hList1"/>
    <dgm:cxn modelId="{40E0AACC-0CF3-47F2-9FAF-D7DB3C8FB893}" type="presOf" srcId="{3256AD19-79D9-4DD2-BD85-48D74080CB17}" destId="{FFC2669E-6EFE-4306-9BF4-0E6FE39D4B43}" srcOrd="0" destOrd="0" presId="urn:microsoft.com/office/officeart/2005/8/layout/hList1"/>
    <dgm:cxn modelId="{32B70644-8C88-478D-AB23-5EA7789DB22F}" type="presParOf" srcId="{351DADD5-826D-416B-84E5-26678C386891}" destId="{78A07495-0AF3-45E3-8386-C0DF5FF5E438}" srcOrd="0" destOrd="0" presId="urn:microsoft.com/office/officeart/2005/8/layout/hList1"/>
    <dgm:cxn modelId="{1756B876-25D5-48E5-8A10-05EE0B127DE3}" type="presParOf" srcId="{78A07495-0AF3-45E3-8386-C0DF5FF5E438}" destId="{FFC2669E-6EFE-4306-9BF4-0E6FE39D4B43}" srcOrd="0" destOrd="0" presId="urn:microsoft.com/office/officeart/2005/8/layout/hList1"/>
    <dgm:cxn modelId="{D0307529-D664-4C51-BE39-A8C51C9750E2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64% avance segunda calzada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444C86D2-7BBE-4296-BB6E-C53CC65F4424}">
      <dgm:prSet phldrT="[Texto]"/>
      <dgm:spPr/>
      <dgm:t>
        <a:bodyPr/>
        <a:lstStyle/>
        <a:p>
          <a:r>
            <a:rPr lang="es-CO" dirty="0" smtClean="0"/>
            <a:t>16% avance puente Rio Botello.</a:t>
          </a:r>
          <a:endParaRPr lang="es-CO" dirty="0"/>
        </a:p>
      </dgm:t>
    </dgm:pt>
    <dgm:pt modelId="{E39E1281-4C96-44C1-B800-407FB15CACED}" type="parTrans" cxnId="{E825E052-214B-43AD-A8C7-80FB1D677677}">
      <dgm:prSet/>
      <dgm:spPr/>
      <dgm:t>
        <a:bodyPr/>
        <a:lstStyle/>
        <a:p>
          <a:endParaRPr lang="es-CO"/>
        </a:p>
      </dgm:t>
    </dgm:pt>
    <dgm:pt modelId="{F7D81248-B6F7-4F64-B4C0-AC18D6C1D8D3}" type="sibTrans" cxnId="{E825E052-214B-43AD-A8C7-80FB1D677677}">
      <dgm:prSet/>
      <dgm:spPr/>
      <dgm:t>
        <a:bodyPr/>
        <a:lstStyle/>
        <a:p>
          <a:endParaRPr lang="es-CO"/>
        </a:p>
      </dgm:t>
    </dgm:pt>
    <dgm:pt modelId="{3ABA112E-586C-4CD5-9EEF-A611A0DD9C98}">
      <dgm:prSet phldrT="[Texto]"/>
      <dgm:spPr/>
      <dgm:t>
        <a:bodyPr/>
        <a:lstStyle/>
        <a:p>
          <a:r>
            <a:rPr lang="es-CO" dirty="0" smtClean="0"/>
            <a:t>1% avance puente Ferrocarril.</a:t>
          </a:r>
          <a:endParaRPr lang="es-CO" dirty="0"/>
        </a:p>
      </dgm:t>
    </dgm:pt>
    <dgm:pt modelId="{FC66F085-8D38-46BB-AF1D-7F84E913A6BF}" type="parTrans" cxnId="{992729A6-15B0-4AF3-9600-A64C25E6746F}">
      <dgm:prSet/>
      <dgm:spPr/>
      <dgm:t>
        <a:bodyPr/>
        <a:lstStyle/>
        <a:p>
          <a:endParaRPr lang="es-CO"/>
        </a:p>
      </dgm:t>
    </dgm:pt>
    <dgm:pt modelId="{07832EB6-EA30-40FD-8F8B-40E9FD99A03E}" type="sibTrans" cxnId="{992729A6-15B0-4AF3-9600-A64C25E6746F}">
      <dgm:prSet/>
      <dgm:spPr/>
      <dgm:t>
        <a:bodyPr/>
        <a:lstStyle/>
        <a:p>
          <a:endParaRPr lang="es-CO"/>
        </a:p>
      </dgm:t>
    </dgm:pt>
    <dgm:pt modelId="{70E42336-D33E-417C-A3CB-670D5BD97ABB}">
      <dgm:prSet phldrT="[Texto]"/>
      <dgm:spPr/>
      <dgm:t>
        <a:bodyPr/>
        <a:lstStyle/>
        <a:p>
          <a:r>
            <a:rPr lang="es-CO" dirty="0" smtClean="0"/>
            <a:t>Solo se ha iniciado la construcción de los enlaces a desnivel glorieta Mosquera – La Mesa y entrada a </a:t>
          </a:r>
          <a:r>
            <a:rPr lang="es-CO" dirty="0" err="1" smtClean="0"/>
            <a:t>Bojacá</a:t>
          </a:r>
          <a:r>
            <a:rPr lang="es-CO" dirty="0" smtClean="0"/>
            <a:t>, 16% y 4% respectivamente.</a:t>
          </a:r>
          <a:endParaRPr lang="es-CO" dirty="0"/>
        </a:p>
      </dgm:t>
    </dgm:pt>
    <dgm:pt modelId="{542A90A0-B2E5-480F-8F6B-94903CFACE20}" type="parTrans" cxnId="{9486DA0C-5654-4B66-8FDD-BC0F35F6F3D8}">
      <dgm:prSet/>
      <dgm:spPr/>
      <dgm:t>
        <a:bodyPr/>
        <a:lstStyle/>
        <a:p>
          <a:endParaRPr lang="es-CO"/>
        </a:p>
      </dgm:t>
    </dgm:pt>
    <dgm:pt modelId="{265DCB75-19D5-4890-9D17-1594EBAA2987}" type="sibTrans" cxnId="{9486DA0C-5654-4B66-8FDD-BC0F35F6F3D8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9689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825E052-214B-43AD-A8C7-80FB1D677677}" srcId="{3256AD19-79D9-4DD2-BD85-48D74080CB17}" destId="{444C86D2-7BBE-4296-BB6E-C53CC65F4424}" srcOrd="1" destOrd="0" parTransId="{E39E1281-4C96-44C1-B800-407FB15CACED}" sibTransId="{F7D81248-B6F7-4F64-B4C0-AC18D6C1D8D3}"/>
    <dgm:cxn modelId="{726B13DC-4614-4EDF-97FF-FDE43F03D4E4}" type="presOf" srcId="{70E42336-D33E-417C-A3CB-670D5BD97ABB}" destId="{AB09D624-FF1B-4987-8110-30D214096F41}" srcOrd="0" destOrd="3" presId="urn:microsoft.com/office/officeart/2005/8/layout/hList1"/>
    <dgm:cxn modelId="{9F4636BE-8189-42E2-940B-A3BCC325A001}" type="presOf" srcId="{CF84DDC2-96BF-432F-AA37-B7281110F630}" destId="{351DADD5-826D-416B-84E5-26678C386891}" srcOrd="0" destOrd="0" presId="urn:microsoft.com/office/officeart/2005/8/layout/hList1"/>
    <dgm:cxn modelId="{9486DA0C-5654-4B66-8FDD-BC0F35F6F3D8}" srcId="{3256AD19-79D9-4DD2-BD85-48D74080CB17}" destId="{70E42336-D33E-417C-A3CB-670D5BD97ABB}" srcOrd="3" destOrd="0" parTransId="{542A90A0-B2E5-480F-8F6B-94903CFACE20}" sibTransId="{265DCB75-19D5-4890-9D17-1594EBAA2987}"/>
    <dgm:cxn modelId="{345844F6-93FB-4390-903D-8369A91E240E}" type="presOf" srcId="{62D32E80-FEA0-48C5-B4F3-D3A7B382CF4D}" destId="{AB09D624-FF1B-4987-8110-30D214096F41}" srcOrd="0" destOrd="0" presId="urn:microsoft.com/office/officeart/2005/8/layout/hList1"/>
    <dgm:cxn modelId="{26CB9142-C483-43C3-8A06-D7D17A1290FE}" type="presOf" srcId="{3256AD19-79D9-4DD2-BD85-48D74080CB17}" destId="{FFC2669E-6EFE-4306-9BF4-0E6FE39D4B43}" srcOrd="0" destOrd="0" presId="urn:microsoft.com/office/officeart/2005/8/layout/hList1"/>
    <dgm:cxn modelId="{397BFFED-3DFB-4F74-9B86-422007C22B60}" type="presOf" srcId="{3ABA112E-586C-4CD5-9EEF-A611A0DD9C98}" destId="{AB09D624-FF1B-4987-8110-30D214096F41}" srcOrd="0" destOrd="2" presId="urn:microsoft.com/office/officeart/2005/8/layout/hList1"/>
    <dgm:cxn modelId="{992729A6-15B0-4AF3-9600-A64C25E6746F}" srcId="{3256AD19-79D9-4DD2-BD85-48D74080CB17}" destId="{3ABA112E-586C-4CD5-9EEF-A611A0DD9C98}" srcOrd="2" destOrd="0" parTransId="{FC66F085-8D38-46BB-AF1D-7F84E913A6BF}" sibTransId="{07832EB6-EA30-40FD-8F8B-40E9FD99A03E}"/>
    <dgm:cxn modelId="{BCECE597-99C2-4C81-96E0-5CDB778A3724}" type="presOf" srcId="{444C86D2-7BBE-4296-BB6E-C53CC65F4424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31DCC775-F044-459A-A7C5-2B7603440609}" type="presParOf" srcId="{351DADD5-826D-416B-84E5-26678C386891}" destId="{78A07495-0AF3-45E3-8386-C0DF5FF5E438}" srcOrd="0" destOrd="0" presId="urn:microsoft.com/office/officeart/2005/8/layout/hList1"/>
    <dgm:cxn modelId="{82E93CBA-898D-4D60-9911-7372B8A71E10}" type="presParOf" srcId="{78A07495-0AF3-45E3-8386-C0DF5FF5E438}" destId="{FFC2669E-6EFE-4306-9BF4-0E6FE39D4B43}" srcOrd="0" destOrd="0" presId="urn:microsoft.com/office/officeart/2005/8/layout/hList1"/>
    <dgm:cxn modelId="{07A14A3D-1B7F-46FB-BBF7-37521BDBD302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000" dirty="0" smtClean="0"/>
            <a:t>Metas 2016</a:t>
          </a:r>
          <a:endParaRPr lang="es-CO" sz="20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</a:rPr>
            <a:t>Construcción- Sector 2: Km41+500-Km44+449 (L=2,95 Km) </a:t>
          </a:r>
          <a:endParaRPr lang="es-CO" b="1" dirty="0">
            <a:solidFill>
              <a:schemeClr val="tx1"/>
            </a:solidFill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53DCA414-5CAF-44AB-9D1D-457942F0877A}">
      <dgm:prSet phldrT="[Texto]"/>
      <dgm:spPr/>
      <dgm:t>
        <a:bodyPr/>
        <a:lstStyle/>
        <a:p>
          <a:r>
            <a:rPr lang="es-CO" b="1" dirty="0" smtClean="0">
              <a:solidFill>
                <a:schemeClr val="tx1"/>
              </a:solidFill>
            </a:rPr>
            <a:t>Construcción - Sector 2A: Km 44+449-Km49+804 (L=5,35 Km</a:t>
          </a:r>
          <a:r>
            <a:rPr lang="es-CO" dirty="0" smtClean="0"/>
            <a:t>)</a:t>
          </a:r>
          <a:endParaRPr lang="es-CO" dirty="0"/>
        </a:p>
      </dgm:t>
    </dgm:pt>
    <dgm:pt modelId="{54B7D75A-361F-40AA-A8BC-F7D99B289B04}" type="parTrans" cxnId="{212BC85B-D193-46EA-A825-CD73AFD990F7}">
      <dgm:prSet/>
      <dgm:spPr/>
      <dgm:t>
        <a:bodyPr/>
        <a:lstStyle/>
        <a:p>
          <a:endParaRPr lang="es-CO"/>
        </a:p>
      </dgm:t>
    </dgm:pt>
    <dgm:pt modelId="{51CDC516-4865-40A6-9097-BF6BE42EEB6E}" type="sibTrans" cxnId="{212BC85B-D193-46EA-A825-CD73AFD990F7}">
      <dgm:prSet/>
      <dgm:spPr/>
      <dgm:t>
        <a:bodyPr/>
        <a:lstStyle/>
        <a:p>
          <a:endParaRPr lang="es-CO"/>
        </a:p>
      </dgm:t>
    </dgm:pt>
    <dgm:pt modelId="{6886F555-ED57-413F-B769-ABBA57D32D7C}">
      <dgm:prSet phldrT="[Texto]"/>
      <dgm:spPr/>
      <dgm:t>
        <a:bodyPr/>
        <a:lstStyle/>
        <a:p>
          <a:r>
            <a:rPr lang="es-CO" dirty="0" smtClean="0"/>
            <a:t>Puentes=6 Un </a:t>
          </a:r>
          <a:endParaRPr lang="es-CO" dirty="0"/>
        </a:p>
      </dgm:t>
    </dgm:pt>
    <dgm:pt modelId="{56F36E47-4816-4C9D-B127-3499EC640AB4}" type="parTrans" cxnId="{FD7D86B1-8CB2-42BC-B0DF-4FCAFAD3F418}">
      <dgm:prSet/>
      <dgm:spPr/>
      <dgm:t>
        <a:bodyPr/>
        <a:lstStyle/>
        <a:p>
          <a:endParaRPr lang="es-CO"/>
        </a:p>
      </dgm:t>
    </dgm:pt>
    <dgm:pt modelId="{95DDBAD2-5250-437E-B7FA-F79BACFAED88}" type="sibTrans" cxnId="{FD7D86B1-8CB2-42BC-B0DF-4FCAFAD3F418}">
      <dgm:prSet/>
      <dgm:spPr/>
      <dgm:t>
        <a:bodyPr/>
        <a:lstStyle/>
        <a:p>
          <a:endParaRPr lang="es-CO"/>
        </a:p>
      </dgm:t>
    </dgm:pt>
    <dgm:pt modelId="{295D7A38-F8CA-4F30-A10F-C11D43FB74D0}">
      <dgm:prSet phldrT="[Texto]"/>
      <dgm:spPr/>
      <dgm:t>
        <a:bodyPr/>
        <a:lstStyle/>
        <a:p>
          <a:r>
            <a:rPr lang="es-CO" dirty="0" smtClean="0"/>
            <a:t>Galería de Escape=1 Un</a:t>
          </a:r>
          <a:endParaRPr lang="es-CO" dirty="0"/>
        </a:p>
      </dgm:t>
    </dgm:pt>
    <dgm:pt modelId="{3C3A0536-9F6F-4B64-8674-8A5B9242B713}" type="sibTrans" cxnId="{414F5F4F-19FA-41DB-A293-F71E15862211}">
      <dgm:prSet/>
      <dgm:spPr/>
      <dgm:t>
        <a:bodyPr/>
        <a:lstStyle/>
        <a:p>
          <a:endParaRPr lang="es-CO"/>
        </a:p>
      </dgm:t>
    </dgm:pt>
    <dgm:pt modelId="{BB937474-BFEB-476A-A33D-39CA6150B185}" type="parTrans" cxnId="{414F5F4F-19FA-41DB-A293-F71E15862211}">
      <dgm:prSet/>
      <dgm:spPr/>
      <dgm:t>
        <a:bodyPr/>
        <a:lstStyle/>
        <a:p>
          <a:endParaRPr lang="es-CO"/>
        </a:p>
      </dgm:t>
    </dgm:pt>
    <dgm:pt modelId="{B03A99D3-D8C6-44F6-9AEF-3F6ED4943FD4}">
      <dgm:prSet phldrT="[Texto]"/>
      <dgm:spPr/>
      <dgm:t>
        <a:bodyPr/>
        <a:lstStyle/>
        <a:p>
          <a:r>
            <a:rPr lang="es-CO" dirty="0" smtClean="0"/>
            <a:t>Túneles=3 Un</a:t>
          </a:r>
          <a:endParaRPr lang="es-CO" dirty="0"/>
        </a:p>
      </dgm:t>
    </dgm:pt>
    <dgm:pt modelId="{4F18A590-EE13-49EC-9B28-0403F7B2215B}" type="sibTrans" cxnId="{DFD5E604-686A-4040-8740-A740A3FCC878}">
      <dgm:prSet/>
      <dgm:spPr/>
      <dgm:t>
        <a:bodyPr/>
        <a:lstStyle/>
        <a:p>
          <a:endParaRPr lang="es-CO"/>
        </a:p>
      </dgm:t>
    </dgm:pt>
    <dgm:pt modelId="{46066B6E-FE1C-4163-9764-CF8155043FBB}" type="parTrans" cxnId="{DFD5E604-686A-4040-8740-A740A3FCC878}">
      <dgm:prSet/>
      <dgm:spPr/>
      <dgm:t>
        <a:bodyPr/>
        <a:lstStyle/>
        <a:p>
          <a:endParaRPr lang="es-CO"/>
        </a:p>
      </dgm:t>
    </dgm:pt>
    <dgm:pt modelId="{94690E2A-5262-4B76-A2CF-6543BF444AA4}">
      <dgm:prSet phldrT="[Texto]"/>
      <dgm:spPr/>
      <dgm:t>
        <a:bodyPr/>
        <a:lstStyle/>
        <a:p>
          <a:r>
            <a:rPr lang="es-CO" dirty="0" smtClean="0"/>
            <a:t>Puentes= 3 Un</a:t>
          </a:r>
          <a:endParaRPr lang="es-CO" dirty="0"/>
        </a:p>
      </dgm:t>
    </dgm:pt>
    <dgm:pt modelId="{CD197890-D03F-4283-95CE-B42D3988D235}" type="parTrans" cxnId="{933181FC-C013-41FB-B783-AD967EF5A27D}">
      <dgm:prSet/>
      <dgm:spPr/>
      <dgm:t>
        <a:bodyPr/>
        <a:lstStyle/>
        <a:p>
          <a:endParaRPr lang="es-CO"/>
        </a:p>
      </dgm:t>
    </dgm:pt>
    <dgm:pt modelId="{F38ED0B0-74B4-4A18-8D91-59A18C7E1DBA}" type="sibTrans" cxnId="{933181FC-C013-41FB-B783-AD967EF5A27D}">
      <dgm:prSet/>
      <dgm:spPr/>
      <dgm:t>
        <a:bodyPr/>
        <a:lstStyle/>
        <a:p>
          <a:endParaRPr lang="es-CO"/>
        </a:p>
      </dgm:t>
    </dgm:pt>
    <dgm:pt modelId="{76814AF8-BF6F-4A1A-800C-10B53D21329F}">
      <dgm:prSet phldrT="[Texto]"/>
      <dgm:spPr/>
      <dgm:t>
        <a:bodyPr/>
        <a:lstStyle/>
        <a:p>
          <a:r>
            <a:rPr lang="es-CO" dirty="0" smtClean="0"/>
            <a:t>Galería de Escape= 1 Un</a:t>
          </a:r>
          <a:endParaRPr lang="es-CO" dirty="0"/>
        </a:p>
      </dgm:t>
    </dgm:pt>
    <dgm:pt modelId="{5E4AD674-D432-402F-8D41-0E38922C667D}" type="sibTrans" cxnId="{82622CF4-55EF-415C-85AA-D2DB860F2832}">
      <dgm:prSet/>
      <dgm:spPr/>
      <dgm:t>
        <a:bodyPr/>
        <a:lstStyle/>
        <a:p>
          <a:endParaRPr lang="es-CO"/>
        </a:p>
      </dgm:t>
    </dgm:pt>
    <dgm:pt modelId="{6E316B5F-6386-42CB-87CF-8CE58127AAE7}" type="parTrans" cxnId="{82622CF4-55EF-415C-85AA-D2DB860F2832}">
      <dgm:prSet/>
      <dgm:spPr/>
      <dgm:t>
        <a:bodyPr/>
        <a:lstStyle/>
        <a:p>
          <a:endParaRPr lang="es-CO"/>
        </a:p>
      </dgm:t>
    </dgm:pt>
    <dgm:pt modelId="{AEDBD916-3811-4D2B-961A-50FE2A8E78C2}">
      <dgm:prSet phldrT="[Texto]"/>
      <dgm:spPr/>
      <dgm:t>
        <a:bodyPr/>
        <a:lstStyle/>
        <a:p>
          <a:r>
            <a:rPr lang="es-CO" dirty="0" smtClean="0"/>
            <a:t>Túneles= 1 Un</a:t>
          </a:r>
          <a:endParaRPr lang="es-CO" dirty="0"/>
        </a:p>
      </dgm:t>
    </dgm:pt>
    <dgm:pt modelId="{32DEFF63-F47F-4D8A-B300-99B9B61150D8}" type="sibTrans" cxnId="{0F39F15E-815C-4DA7-AEEE-4B6BEEF13C23}">
      <dgm:prSet/>
      <dgm:spPr/>
      <dgm:t>
        <a:bodyPr/>
        <a:lstStyle/>
        <a:p>
          <a:endParaRPr lang="es-CO"/>
        </a:p>
      </dgm:t>
    </dgm:pt>
    <dgm:pt modelId="{6EE38258-245A-4DB9-A5ED-6B670D957F8A}" type="parTrans" cxnId="{0F39F15E-815C-4DA7-AEEE-4B6BEEF13C23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3860" custLinFactNeighborY="-184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696C021-19BE-46A3-9CC8-34F8CF926C57}" type="presOf" srcId="{53DCA414-5CAF-44AB-9D1D-457942F0877A}" destId="{AB09D624-FF1B-4987-8110-30D214096F41}" srcOrd="0" destOrd="4" presId="urn:microsoft.com/office/officeart/2005/8/layout/hList1"/>
    <dgm:cxn modelId="{E04D77AF-F34A-4D5E-9503-744CA9472C9A}" type="presOf" srcId="{3256AD19-79D9-4DD2-BD85-48D74080CB17}" destId="{FFC2669E-6EFE-4306-9BF4-0E6FE39D4B43}" srcOrd="0" destOrd="0" presId="urn:microsoft.com/office/officeart/2005/8/layout/hList1"/>
    <dgm:cxn modelId="{55DB4951-808F-48C8-A5B9-98E097B88254}" type="presOf" srcId="{76814AF8-BF6F-4A1A-800C-10B53D21329F}" destId="{AB09D624-FF1B-4987-8110-30D214096F41}" srcOrd="0" destOrd="7" presId="urn:microsoft.com/office/officeart/2005/8/layout/hList1"/>
    <dgm:cxn modelId="{933181FC-C013-41FB-B783-AD967EF5A27D}" srcId="{53DCA414-5CAF-44AB-9D1D-457942F0877A}" destId="{94690E2A-5262-4B76-A2CF-6543BF444AA4}" srcOrd="0" destOrd="0" parTransId="{CD197890-D03F-4283-95CE-B42D3988D235}" sibTransId="{F38ED0B0-74B4-4A18-8D91-59A18C7E1DBA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564BC6EA-FB19-4DA7-8133-ECCFAAA4F1F3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F690D1BB-617E-489D-8721-C2D7942A4F52}" type="presOf" srcId="{6886F555-ED57-413F-B769-ABBA57D32D7C}" destId="{AB09D624-FF1B-4987-8110-30D214096F41}" srcOrd="0" destOrd="1" presId="urn:microsoft.com/office/officeart/2005/8/layout/hList1"/>
    <dgm:cxn modelId="{CA485A0F-D00F-49A6-9A01-282224193568}" type="presOf" srcId="{CF84DDC2-96BF-432F-AA37-B7281110F630}" destId="{351DADD5-826D-416B-84E5-26678C386891}" srcOrd="0" destOrd="0" presId="urn:microsoft.com/office/officeart/2005/8/layout/hList1"/>
    <dgm:cxn modelId="{2FF742B2-5DB3-4C9E-AB1B-A2C23A8668D1}" type="presOf" srcId="{295D7A38-F8CA-4F30-A10F-C11D43FB74D0}" destId="{AB09D624-FF1B-4987-8110-30D214096F41}" srcOrd="0" destOrd="3" presId="urn:microsoft.com/office/officeart/2005/8/layout/hList1"/>
    <dgm:cxn modelId="{13EA6EE2-7B38-4AD5-9623-F288F57837EE}" type="presOf" srcId="{94690E2A-5262-4B76-A2CF-6543BF444AA4}" destId="{AB09D624-FF1B-4987-8110-30D214096F41}" srcOrd="0" destOrd="5" presId="urn:microsoft.com/office/officeart/2005/8/layout/hList1"/>
    <dgm:cxn modelId="{FD7D86B1-8CB2-42BC-B0DF-4FCAFAD3F418}" srcId="{62D32E80-FEA0-48C5-B4F3-D3A7B382CF4D}" destId="{6886F555-ED57-413F-B769-ABBA57D32D7C}" srcOrd="0" destOrd="0" parTransId="{56F36E47-4816-4C9D-B127-3499EC640AB4}" sibTransId="{95DDBAD2-5250-437E-B7FA-F79BACFAED88}"/>
    <dgm:cxn modelId="{0F39F15E-815C-4DA7-AEEE-4B6BEEF13C23}" srcId="{53DCA414-5CAF-44AB-9D1D-457942F0877A}" destId="{AEDBD916-3811-4D2B-961A-50FE2A8E78C2}" srcOrd="1" destOrd="0" parTransId="{6EE38258-245A-4DB9-A5ED-6B670D957F8A}" sibTransId="{32DEFF63-F47F-4D8A-B300-99B9B61150D8}"/>
    <dgm:cxn modelId="{82622CF4-55EF-415C-85AA-D2DB860F2832}" srcId="{53DCA414-5CAF-44AB-9D1D-457942F0877A}" destId="{76814AF8-BF6F-4A1A-800C-10B53D21329F}" srcOrd="2" destOrd="0" parTransId="{6E316B5F-6386-42CB-87CF-8CE58127AAE7}" sibTransId="{5E4AD674-D432-402F-8D41-0E38922C667D}"/>
    <dgm:cxn modelId="{414F5F4F-19FA-41DB-A293-F71E15862211}" srcId="{62D32E80-FEA0-48C5-B4F3-D3A7B382CF4D}" destId="{295D7A38-F8CA-4F30-A10F-C11D43FB74D0}" srcOrd="2" destOrd="0" parTransId="{BB937474-BFEB-476A-A33D-39CA6150B185}" sibTransId="{3C3A0536-9F6F-4B64-8674-8A5B9242B713}"/>
    <dgm:cxn modelId="{212BC85B-D193-46EA-A825-CD73AFD990F7}" srcId="{3256AD19-79D9-4DD2-BD85-48D74080CB17}" destId="{53DCA414-5CAF-44AB-9D1D-457942F0877A}" srcOrd="1" destOrd="0" parTransId="{54B7D75A-361F-40AA-A8BC-F7D99B289B04}" sibTransId="{51CDC516-4865-40A6-9097-BF6BE42EEB6E}"/>
    <dgm:cxn modelId="{DFD5E604-686A-4040-8740-A740A3FCC878}" srcId="{62D32E80-FEA0-48C5-B4F3-D3A7B382CF4D}" destId="{B03A99D3-D8C6-44F6-9AEF-3F6ED4943FD4}" srcOrd="1" destOrd="0" parTransId="{46066B6E-FE1C-4163-9764-CF8155043FBB}" sibTransId="{4F18A590-EE13-49EC-9B28-0403F7B2215B}"/>
    <dgm:cxn modelId="{88A25FE9-E8D2-4CEF-9965-2C57F6DBF3CB}" type="presOf" srcId="{B03A99D3-D8C6-44F6-9AEF-3F6ED4943FD4}" destId="{AB09D624-FF1B-4987-8110-30D214096F41}" srcOrd="0" destOrd="2" presId="urn:microsoft.com/office/officeart/2005/8/layout/hList1"/>
    <dgm:cxn modelId="{02B9A951-E558-4045-AF73-5984A6B90F46}" type="presOf" srcId="{AEDBD916-3811-4D2B-961A-50FE2A8E78C2}" destId="{AB09D624-FF1B-4987-8110-30D214096F41}" srcOrd="0" destOrd="6" presId="urn:microsoft.com/office/officeart/2005/8/layout/hList1"/>
    <dgm:cxn modelId="{B781031C-0855-40AE-91AE-03ECD14DFA36}" type="presParOf" srcId="{351DADD5-826D-416B-84E5-26678C386891}" destId="{78A07495-0AF3-45E3-8386-C0DF5FF5E438}" srcOrd="0" destOrd="0" presId="urn:microsoft.com/office/officeart/2005/8/layout/hList1"/>
    <dgm:cxn modelId="{B2375716-2D58-4790-B1A6-9D8FA919CD36}" type="presParOf" srcId="{78A07495-0AF3-45E3-8386-C0DF5FF5E438}" destId="{FFC2669E-6EFE-4306-9BF4-0E6FE39D4B43}" srcOrd="0" destOrd="0" presId="urn:microsoft.com/office/officeart/2005/8/layout/hList1"/>
    <dgm:cxn modelId="{061D2EDD-3A5A-4CAD-B5F2-4CDD94690FBE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 smtClean="0"/>
            <a:t>Avances Abril de 2016</a:t>
          </a:r>
          <a:endParaRPr lang="es-CO" sz="24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000" dirty="0" smtClean="0"/>
            <a:t>Sector 2: 100%</a:t>
          </a:r>
          <a:endParaRPr lang="es-CO" sz="20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41AF5C7A-1C10-47E0-AF78-7398640FE21B}">
      <dgm:prSet phldrT="[Texto]" custT="1"/>
      <dgm:spPr/>
      <dgm:t>
        <a:bodyPr/>
        <a:lstStyle/>
        <a:p>
          <a:r>
            <a:rPr lang="es-CO" sz="2000" dirty="0" smtClean="0"/>
            <a:t>Sector 2A: 92% </a:t>
          </a:r>
          <a:endParaRPr lang="es-CO" sz="2000" dirty="0"/>
        </a:p>
      </dgm:t>
    </dgm:pt>
    <dgm:pt modelId="{6AF59FEC-61A1-4F68-BAEB-92D3ED09A213}" type="parTrans" cxnId="{EC73B129-578F-44D2-B530-F4957795D9C4}">
      <dgm:prSet/>
      <dgm:spPr/>
      <dgm:t>
        <a:bodyPr/>
        <a:lstStyle/>
        <a:p>
          <a:endParaRPr lang="es-CO"/>
        </a:p>
      </dgm:t>
    </dgm:pt>
    <dgm:pt modelId="{A449FD6C-AEEE-4522-9740-9881977C2271}" type="sibTrans" cxnId="{EC73B129-578F-44D2-B530-F4957795D9C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35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Y="-39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C73B129-578F-44D2-B530-F4957795D9C4}" srcId="{3256AD19-79D9-4DD2-BD85-48D74080CB17}" destId="{41AF5C7A-1C10-47E0-AF78-7398640FE21B}" srcOrd="1" destOrd="0" parTransId="{6AF59FEC-61A1-4F68-BAEB-92D3ED09A213}" sibTransId="{A449FD6C-AEEE-4522-9740-9881977C2271}"/>
    <dgm:cxn modelId="{C553B17B-3DF4-4E1B-B9CA-8D305F3A7C23}" type="presOf" srcId="{CF84DDC2-96BF-432F-AA37-B7281110F630}" destId="{351DADD5-826D-416B-84E5-26678C386891}" srcOrd="0" destOrd="0" presId="urn:microsoft.com/office/officeart/2005/8/layout/hList1"/>
    <dgm:cxn modelId="{D8310721-FBA2-4551-AA3A-F9DA5A49E6AE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B2347F37-2729-4ED7-9499-997F46E3F5CD}" type="presOf" srcId="{62D32E80-FEA0-48C5-B4F3-D3A7B382CF4D}" destId="{AB09D624-FF1B-4987-8110-30D214096F4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A130245F-D589-4D40-82B7-31C53882F0A1}" type="presOf" srcId="{41AF5C7A-1C10-47E0-AF78-7398640FE21B}" destId="{AB09D624-FF1B-4987-8110-30D214096F41}" srcOrd="0" destOrd="1" presId="urn:microsoft.com/office/officeart/2005/8/layout/hList1"/>
    <dgm:cxn modelId="{51A4D63C-795C-4420-969F-64DCF1E2C40C}" type="presParOf" srcId="{351DADD5-826D-416B-84E5-26678C386891}" destId="{78A07495-0AF3-45E3-8386-C0DF5FF5E438}" srcOrd="0" destOrd="0" presId="urn:microsoft.com/office/officeart/2005/8/layout/hList1"/>
    <dgm:cxn modelId="{20485FAC-2577-401B-B39A-53201DA6092D}" type="presParOf" srcId="{78A07495-0AF3-45E3-8386-C0DF5FF5E438}" destId="{FFC2669E-6EFE-4306-9BF4-0E6FE39D4B43}" srcOrd="0" destOrd="0" presId="urn:microsoft.com/office/officeart/2005/8/layout/hList1"/>
    <dgm:cxn modelId="{D6B0F701-40CD-4F5D-B488-BC54E99D4D3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000" dirty="0" smtClean="0"/>
            <a:t>Metas</a:t>
          </a:r>
          <a:endParaRPr lang="es-CO" sz="20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200" dirty="0" smtClean="0"/>
            <a:t>Construcción Puente Rojo</a:t>
          </a:r>
          <a:endParaRPr lang="es-CO" sz="12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1F75D1A2-F5D2-484A-9569-F8E1E7AF771B}">
      <dgm:prSet phldrT="[Texto]" custT="1"/>
      <dgm:spPr/>
      <dgm:t>
        <a:bodyPr/>
        <a:lstStyle/>
        <a:p>
          <a:r>
            <a:rPr lang="es-CO" sz="1200" dirty="0" smtClean="0"/>
            <a:t>Construcción Puente sobre el Río Pamplonita</a:t>
          </a:r>
          <a:endParaRPr lang="es-CO" sz="1200" dirty="0"/>
        </a:p>
      </dgm:t>
    </dgm:pt>
    <dgm:pt modelId="{28946FB5-B0B1-4A99-8F41-13A5C87C1737}" type="parTrans" cxnId="{AF3DF195-7350-4E33-8F62-5894425236E4}">
      <dgm:prSet/>
      <dgm:spPr/>
      <dgm:t>
        <a:bodyPr/>
        <a:lstStyle/>
        <a:p>
          <a:endParaRPr lang="es-CO"/>
        </a:p>
      </dgm:t>
    </dgm:pt>
    <dgm:pt modelId="{A18CECC6-6D28-4F1F-A537-EA14F27AB51D}" type="sibTrans" cxnId="{AF3DF195-7350-4E33-8F62-5894425236E4}">
      <dgm:prSet/>
      <dgm:spPr/>
      <dgm:t>
        <a:bodyPr/>
        <a:lstStyle/>
        <a:p>
          <a:endParaRPr lang="es-CO"/>
        </a:p>
      </dgm:t>
    </dgm:pt>
    <dgm:pt modelId="{5B230FF5-1B19-46C4-B16C-BD79B81C9DB4}">
      <dgm:prSet phldrT="[Texto]" custT="1"/>
      <dgm:spPr/>
      <dgm:t>
        <a:bodyPr/>
        <a:lstStyle/>
        <a:p>
          <a:r>
            <a:rPr lang="es-CO" sz="1200" dirty="0" smtClean="0"/>
            <a:t>Construcción Intersección </a:t>
          </a:r>
          <a:r>
            <a:rPr lang="es-CO" sz="1200" dirty="0" err="1" smtClean="0"/>
            <a:t>Rumichaca</a:t>
          </a:r>
          <a:endParaRPr lang="es-CO" sz="1200" dirty="0"/>
        </a:p>
      </dgm:t>
    </dgm:pt>
    <dgm:pt modelId="{40285204-4173-40A5-B2BF-4201F3618D44}" type="parTrans" cxnId="{558663A9-E822-40F9-8504-9E02FB9805A1}">
      <dgm:prSet/>
      <dgm:spPr/>
      <dgm:t>
        <a:bodyPr/>
        <a:lstStyle/>
        <a:p>
          <a:endParaRPr lang="es-CO"/>
        </a:p>
      </dgm:t>
    </dgm:pt>
    <dgm:pt modelId="{3BC4D9FC-3894-4FBD-A311-4CC8F81DF553}" type="sibTrans" cxnId="{558663A9-E822-40F9-8504-9E02FB9805A1}">
      <dgm:prSet/>
      <dgm:spPr/>
      <dgm:t>
        <a:bodyPr/>
        <a:lstStyle/>
        <a:p>
          <a:endParaRPr lang="es-CO"/>
        </a:p>
      </dgm:t>
    </dgm:pt>
    <dgm:pt modelId="{0557EC22-840B-4F5F-B016-CB510F5FE94F}">
      <dgm:prSet phldrT="[Texto]" custT="1"/>
      <dgm:spPr/>
      <dgm:t>
        <a:bodyPr/>
        <a:lstStyle/>
        <a:p>
          <a:r>
            <a:rPr lang="es-CO" sz="1200" dirty="0" smtClean="0"/>
            <a:t>Construcción Rampas Puente  de Noviembre, Puentes peatonales El Recreo y Sendero Peatonal Juana Paula</a:t>
          </a:r>
          <a:endParaRPr lang="es-CO" sz="1200" dirty="0"/>
        </a:p>
      </dgm:t>
    </dgm:pt>
    <dgm:pt modelId="{D6B7F714-E721-487F-8274-11504A94A808}" type="parTrans" cxnId="{AD2D30AE-CF23-45FF-9A65-AC2A3A88B677}">
      <dgm:prSet/>
      <dgm:spPr/>
      <dgm:t>
        <a:bodyPr/>
        <a:lstStyle/>
        <a:p>
          <a:endParaRPr lang="es-CO"/>
        </a:p>
      </dgm:t>
    </dgm:pt>
    <dgm:pt modelId="{A60A71D7-1A2E-4AF5-BB9F-52A58FD1872D}" type="sibTrans" cxnId="{AD2D30AE-CF23-45FF-9A65-AC2A3A88B677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167514" custLinFactNeighborY="-6194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0000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7439C2DC-E7C6-4BAA-BB49-F041200F5B0F}" type="presOf" srcId="{CF84DDC2-96BF-432F-AA37-B7281110F630}" destId="{351DADD5-826D-416B-84E5-26678C386891}" srcOrd="0" destOrd="0" presId="urn:microsoft.com/office/officeart/2005/8/layout/hList1"/>
    <dgm:cxn modelId="{F36A8CF8-5A88-4BB3-9650-F57E764B0F03}" type="presOf" srcId="{0557EC22-840B-4F5F-B016-CB510F5FE94F}" destId="{AB09D624-FF1B-4987-8110-30D214096F41}" srcOrd="0" destOrd="3" presId="urn:microsoft.com/office/officeart/2005/8/layout/hList1"/>
    <dgm:cxn modelId="{21D5C592-B35A-470A-8AEC-730CFFAAD2CD}" type="presOf" srcId="{1F75D1A2-F5D2-484A-9569-F8E1E7AF771B}" destId="{AB09D624-FF1B-4987-8110-30D214096F41}" srcOrd="0" destOrd="1" presId="urn:microsoft.com/office/officeart/2005/8/layout/hList1"/>
    <dgm:cxn modelId="{28A444F5-0A81-4B74-88B5-C3CA43AE5565}" type="presOf" srcId="{62D32E80-FEA0-48C5-B4F3-D3A7B382CF4D}" destId="{AB09D624-FF1B-4987-8110-30D214096F41}" srcOrd="0" destOrd="0" presId="urn:microsoft.com/office/officeart/2005/8/layout/hList1"/>
    <dgm:cxn modelId="{5838DF5C-C5DF-4B4A-9805-08BEF994A781}" type="presOf" srcId="{5B230FF5-1B19-46C4-B16C-BD79B81C9DB4}" destId="{AB09D624-FF1B-4987-8110-30D214096F41}" srcOrd="0" destOrd="2" presId="urn:microsoft.com/office/officeart/2005/8/layout/hList1"/>
    <dgm:cxn modelId="{AD2D30AE-CF23-45FF-9A65-AC2A3A88B677}" srcId="{3256AD19-79D9-4DD2-BD85-48D74080CB17}" destId="{0557EC22-840B-4F5F-B016-CB510F5FE94F}" srcOrd="3" destOrd="0" parTransId="{D6B7F714-E721-487F-8274-11504A94A808}" sibTransId="{A60A71D7-1A2E-4AF5-BB9F-52A58FD1872D}"/>
    <dgm:cxn modelId="{AF3DF195-7350-4E33-8F62-5894425236E4}" srcId="{3256AD19-79D9-4DD2-BD85-48D74080CB17}" destId="{1F75D1A2-F5D2-484A-9569-F8E1E7AF771B}" srcOrd="1" destOrd="0" parTransId="{28946FB5-B0B1-4A99-8F41-13A5C87C1737}" sibTransId="{A18CECC6-6D28-4F1F-A537-EA14F27AB51D}"/>
    <dgm:cxn modelId="{558663A9-E822-40F9-8504-9E02FB9805A1}" srcId="{3256AD19-79D9-4DD2-BD85-48D74080CB17}" destId="{5B230FF5-1B19-46C4-B16C-BD79B81C9DB4}" srcOrd="2" destOrd="0" parTransId="{40285204-4173-40A5-B2BF-4201F3618D44}" sibTransId="{3BC4D9FC-3894-4FBD-A311-4CC8F81DF553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330E1BF3-D7B9-4E6C-BCE1-AD22886A6BFF}" type="presOf" srcId="{3256AD19-79D9-4DD2-BD85-48D74080CB17}" destId="{FFC2669E-6EFE-4306-9BF4-0E6FE39D4B43}" srcOrd="0" destOrd="0" presId="urn:microsoft.com/office/officeart/2005/8/layout/hList1"/>
    <dgm:cxn modelId="{C08F9F89-7C78-4FE4-A047-7F29452E2699}" type="presParOf" srcId="{351DADD5-826D-416B-84E5-26678C386891}" destId="{78A07495-0AF3-45E3-8386-C0DF5FF5E438}" srcOrd="0" destOrd="0" presId="urn:microsoft.com/office/officeart/2005/8/layout/hList1"/>
    <dgm:cxn modelId="{0E8271B0-CBD5-4CB6-A000-1438E1751550}" type="presParOf" srcId="{78A07495-0AF3-45E3-8386-C0DF5FF5E438}" destId="{FFC2669E-6EFE-4306-9BF4-0E6FE39D4B43}" srcOrd="0" destOrd="0" presId="urn:microsoft.com/office/officeart/2005/8/layout/hList1"/>
    <dgm:cxn modelId="{1BDA23A1-1847-491A-A043-D61464917274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800" dirty="0" smtClean="0"/>
            <a:t>Avances</a:t>
          </a:r>
          <a:endParaRPr lang="es-CO" sz="18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400" dirty="0" smtClean="0"/>
            <a:t>Puente Rojo: 100% </a:t>
          </a:r>
          <a:endParaRPr lang="es-CO" sz="14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38C8442-BBAA-4794-BD42-51715C289AA2}">
      <dgm:prSet phldrT="[Texto]" custT="1"/>
      <dgm:spPr/>
      <dgm:t>
        <a:bodyPr/>
        <a:lstStyle/>
        <a:p>
          <a:r>
            <a:rPr lang="es-CO" sz="1400" dirty="0" smtClean="0"/>
            <a:t>Puente Pamplonita: 98%</a:t>
          </a:r>
          <a:endParaRPr lang="es-CO" sz="1400" dirty="0"/>
        </a:p>
      </dgm:t>
    </dgm:pt>
    <dgm:pt modelId="{11DF332B-211A-40E8-9435-78918B76F9DE}" type="parTrans" cxnId="{4FC4BA28-7E3E-43B5-91D0-24EE6F38E270}">
      <dgm:prSet/>
      <dgm:spPr/>
      <dgm:t>
        <a:bodyPr/>
        <a:lstStyle/>
        <a:p>
          <a:endParaRPr lang="es-CO"/>
        </a:p>
      </dgm:t>
    </dgm:pt>
    <dgm:pt modelId="{4871EE54-8744-4DBD-880E-F23C2BBBDC7B}" type="sibTrans" cxnId="{4FC4BA28-7E3E-43B5-91D0-24EE6F38E270}">
      <dgm:prSet/>
      <dgm:spPr/>
      <dgm:t>
        <a:bodyPr/>
        <a:lstStyle/>
        <a:p>
          <a:endParaRPr lang="es-CO"/>
        </a:p>
      </dgm:t>
    </dgm:pt>
    <dgm:pt modelId="{C494CFFF-73AA-4A49-9F47-FCE209611846}">
      <dgm:prSet phldrT="[Texto]" custT="1"/>
      <dgm:spPr/>
      <dgm:t>
        <a:bodyPr/>
        <a:lstStyle/>
        <a:p>
          <a:r>
            <a:rPr lang="es-CO" sz="1400" dirty="0" smtClean="0"/>
            <a:t>Intersección </a:t>
          </a:r>
          <a:r>
            <a:rPr lang="es-CO" sz="1400" dirty="0" err="1" smtClean="0"/>
            <a:t>Rumichaca</a:t>
          </a:r>
          <a:r>
            <a:rPr lang="es-CO" sz="1400" dirty="0" smtClean="0"/>
            <a:t>: 49%</a:t>
          </a:r>
          <a:endParaRPr lang="es-CO" sz="1400" dirty="0"/>
        </a:p>
      </dgm:t>
    </dgm:pt>
    <dgm:pt modelId="{8E065407-BDC9-42EA-B554-8F6AA2682DB1}" type="parTrans" cxnId="{800F59FB-AE9E-4A1E-B62A-F22FBB72D653}">
      <dgm:prSet/>
      <dgm:spPr/>
      <dgm:t>
        <a:bodyPr/>
        <a:lstStyle/>
        <a:p>
          <a:endParaRPr lang="es-CO"/>
        </a:p>
      </dgm:t>
    </dgm:pt>
    <dgm:pt modelId="{3DB56C9A-BBAC-4BF7-AF24-E65865056A4B}" type="sibTrans" cxnId="{800F59FB-AE9E-4A1E-B62A-F22FBB72D653}">
      <dgm:prSet/>
      <dgm:spPr/>
      <dgm:t>
        <a:bodyPr/>
        <a:lstStyle/>
        <a:p>
          <a:endParaRPr lang="es-CO"/>
        </a:p>
      </dgm:t>
    </dgm:pt>
    <dgm:pt modelId="{049433FD-625E-40B5-9CC3-E4E787107E61}">
      <dgm:prSet phldrT="[Texto]" custT="1"/>
      <dgm:spPr/>
      <dgm:t>
        <a:bodyPr/>
        <a:lstStyle/>
        <a:p>
          <a:r>
            <a:rPr lang="es-CO" sz="1400" dirty="0" smtClean="0"/>
            <a:t>El 17-junio-2016 se selecciona el contratista  para la construcción de las obras. </a:t>
          </a:r>
          <a:endParaRPr lang="es-CO" sz="1400" dirty="0"/>
        </a:p>
      </dgm:t>
    </dgm:pt>
    <dgm:pt modelId="{5DA76AE3-E891-493B-A958-E098D894E794}" type="parTrans" cxnId="{5DCDC3D0-DF26-4868-9653-BAC84D8B0C08}">
      <dgm:prSet/>
      <dgm:spPr/>
      <dgm:t>
        <a:bodyPr/>
        <a:lstStyle/>
        <a:p>
          <a:endParaRPr lang="es-CO"/>
        </a:p>
      </dgm:t>
    </dgm:pt>
    <dgm:pt modelId="{F13F280B-009C-4AAA-AF4D-E73C30800B1F}" type="sibTrans" cxnId="{5DCDC3D0-DF26-4868-9653-BAC84D8B0C08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0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34" custLinFactNeighborY="1735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A566C816-5820-46F3-BB37-6677D96C3372}" type="presOf" srcId="{3256AD19-79D9-4DD2-BD85-48D74080CB17}" destId="{FFC2669E-6EFE-4306-9BF4-0E6FE39D4B43}" srcOrd="0" destOrd="0" presId="urn:microsoft.com/office/officeart/2005/8/layout/hList1"/>
    <dgm:cxn modelId="{B8B90800-FA06-4E03-8ED9-0296DE0549CC}" type="presOf" srcId="{C494CFFF-73AA-4A49-9F47-FCE209611846}" destId="{AB09D624-FF1B-4987-8110-30D214096F41}" srcOrd="0" destOrd="2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A83999E1-E054-48FF-9D6A-08DF8F6B3670}" type="presOf" srcId="{049433FD-625E-40B5-9CC3-E4E787107E61}" destId="{AB09D624-FF1B-4987-8110-30D214096F41}" srcOrd="0" destOrd="3" presId="urn:microsoft.com/office/officeart/2005/8/layout/hList1"/>
    <dgm:cxn modelId="{5DCDC3D0-DF26-4868-9653-BAC84D8B0C08}" srcId="{3256AD19-79D9-4DD2-BD85-48D74080CB17}" destId="{049433FD-625E-40B5-9CC3-E4E787107E61}" srcOrd="3" destOrd="0" parTransId="{5DA76AE3-E891-493B-A958-E098D894E794}" sibTransId="{F13F280B-009C-4AAA-AF4D-E73C30800B1F}"/>
    <dgm:cxn modelId="{B127F7F2-5777-4639-A247-BA56FE719CEB}" type="presOf" srcId="{62D32E80-FEA0-48C5-B4F3-D3A7B382CF4D}" destId="{AB09D624-FF1B-4987-8110-30D214096F41}" srcOrd="0" destOrd="0" presId="urn:microsoft.com/office/officeart/2005/8/layout/hList1"/>
    <dgm:cxn modelId="{800F59FB-AE9E-4A1E-B62A-F22FBB72D653}" srcId="{3256AD19-79D9-4DD2-BD85-48D74080CB17}" destId="{C494CFFF-73AA-4A49-9F47-FCE209611846}" srcOrd="2" destOrd="0" parTransId="{8E065407-BDC9-42EA-B554-8F6AA2682DB1}" sibTransId="{3DB56C9A-BBAC-4BF7-AF24-E65865056A4B}"/>
    <dgm:cxn modelId="{D44C8981-9040-428F-8A5F-9FBE110BB12C}" type="presOf" srcId="{838C8442-BBAA-4794-BD42-51715C289AA2}" destId="{AB09D624-FF1B-4987-8110-30D214096F41}" srcOrd="0" destOrd="1" presId="urn:microsoft.com/office/officeart/2005/8/layout/hList1"/>
    <dgm:cxn modelId="{8C1DB374-02CD-4EAF-A422-366AAF306808}" type="presOf" srcId="{CF84DDC2-96BF-432F-AA37-B7281110F630}" destId="{351DADD5-826D-416B-84E5-26678C386891}" srcOrd="0" destOrd="0" presId="urn:microsoft.com/office/officeart/2005/8/layout/hList1"/>
    <dgm:cxn modelId="{4FC4BA28-7E3E-43B5-91D0-24EE6F38E270}" srcId="{3256AD19-79D9-4DD2-BD85-48D74080CB17}" destId="{838C8442-BBAA-4794-BD42-51715C289AA2}" srcOrd="1" destOrd="0" parTransId="{11DF332B-211A-40E8-9435-78918B76F9DE}" sibTransId="{4871EE54-8744-4DBD-880E-F23C2BBBDC7B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2B843A2E-F59B-4F57-A4CE-2E4F6575DB04}" type="presParOf" srcId="{351DADD5-826D-416B-84E5-26678C386891}" destId="{78A07495-0AF3-45E3-8386-C0DF5FF5E438}" srcOrd="0" destOrd="0" presId="urn:microsoft.com/office/officeart/2005/8/layout/hList1"/>
    <dgm:cxn modelId="{B8FED524-640F-46BC-9044-C6BC6AD8CD34}" type="presParOf" srcId="{78A07495-0AF3-45E3-8386-C0DF5FF5E438}" destId="{FFC2669E-6EFE-4306-9BF4-0E6FE39D4B43}" srcOrd="0" destOrd="0" presId="urn:microsoft.com/office/officeart/2005/8/layout/hList1"/>
    <dgm:cxn modelId="{FC933CD3-2445-44D0-831A-6811E7EA3ED3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Construcción Box vehicular y peatonal Comunitario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DF048BB7-1DD9-44AF-9630-D85FBB5A02C0}">
      <dgm:prSet phldrT="[Texto]"/>
      <dgm:spPr/>
      <dgm:t>
        <a:bodyPr/>
        <a:lstStyle/>
        <a:p>
          <a:endParaRPr lang="es-CO" dirty="0"/>
        </a:p>
      </dgm:t>
    </dgm:pt>
    <dgm:pt modelId="{E926F3DC-6328-40C7-81DE-2A652C7AF13F}" type="parTrans" cxnId="{8D79EB7C-58B5-4E2D-A6FC-A9EA55749806}">
      <dgm:prSet/>
      <dgm:spPr/>
      <dgm:t>
        <a:bodyPr/>
        <a:lstStyle/>
        <a:p>
          <a:endParaRPr lang="es-CO"/>
        </a:p>
      </dgm:t>
    </dgm:pt>
    <dgm:pt modelId="{5CFFB58F-0ADB-4951-B50E-A698A61EEF5C}" type="sibTrans" cxnId="{8D79EB7C-58B5-4E2D-A6FC-A9EA55749806}">
      <dgm:prSet/>
      <dgm:spPr/>
      <dgm:t>
        <a:bodyPr/>
        <a:lstStyle/>
        <a:p>
          <a:endParaRPr lang="es-CO"/>
        </a:p>
      </dgm:t>
    </dgm:pt>
    <dgm:pt modelId="{921FFA1C-F221-4155-B905-C6B909DDB61B}">
      <dgm:prSet phldrT="[Texto]"/>
      <dgm:spPr/>
      <dgm:t>
        <a:bodyPr/>
        <a:lstStyle/>
        <a:p>
          <a:r>
            <a:rPr lang="es-CO" dirty="0" smtClean="0"/>
            <a:t>Construcción Box hidráulico Meneses</a:t>
          </a:r>
          <a:endParaRPr lang="es-CO" dirty="0"/>
        </a:p>
      </dgm:t>
    </dgm:pt>
    <dgm:pt modelId="{0B33C0AD-EA5D-470B-B3D5-AFF8863CD0AB}" type="parTrans" cxnId="{21C0B863-9238-4E5D-B677-7983FC32341B}">
      <dgm:prSet/>
      <dgm:spPr/>
      <dgm:t>
        <a:bodyPr/>
        <a:lstStyle/>
        <a:p>
          <a:endParaRPr lang="es-CO"/>
        </a:p>
      </dgm:t>
    </dgm:pt>
    <dgm:pt modelId="{B3DA8D9D-D9B0-4D09-9AB0-C2D32870BF62}" type="sibTrans" cxnId="{21C0B863-9238-4E5D-B677-7983FC32341B}">
      <dgm:prSet/>
      <dgm:spPr/>
      <dgm:t>
        <a:bodyPr/>
        <a:lstStyle/>
        <a:p>
          <a:endParaRPr lang="es-CO"/>
        </a:p>
      </dgm:t>
    </dgm:pt>
    <dgm:pt modelId="{0C3F0CC8-2E87-45C1-9548-86EA30D1BF88}">
      <dgm:prSet phldrT="[Texto]"/>
      <dgm:spPr/>
      <dgm:t>
        <a:bodyPr/>
        <a:lstStyle/>
        <a:p>
          <a:r>
            <a:rPr lang="es-CO" dirty="0" smtClean="0"/>
            <a:t>Actividades de Operación y mantenimiento</a:t>
          </a:r>
          <a:endParaRPr lang="es-CO" dirty="0"/>
        </a:p>
      </dgm:t>
    </dgm:pt>
    <dgm:pt modelId="{237AB569-E317-4834-B714-956AF923F375}" type="parTrans" cxnId="{5B6E62B5-0E1F-45DA-8DB7-791846BCD5F4}">
      <dgm:prSet/>
      <dgm:spPr/>
      <dgm:t>
        <a:bodyPr/>
        <a:lstStyle/>
        <a:p>
          <a:endParaRPr lang="es-CO"/>
        </a:p>
      </dgm:t>
    </dgm:pt>
    <dgm:pt modelId="{9069B949-6612-4007-8133-7CDAE0352234}" type="sibTrans" cxnId="{5B6E62B5-0E1F-45DA-8DB7-791846BCD5F4}">
      <dgm:prSet/>
      <dgm:spPr/>
      <dgm:t>
        <a:bodyPr/>
        <a:lstStyle/>
        <a:p>
          <a:endParaRPr lang="es-CO"/>
        </a:p>
      </dgm:t>
    </dgm:pt>
    <dgm:pt modelId="{13842F4B-6614-4868-AAFF-E3DF7F2083BD}">
      <dgm:prSet phldrT="[Texto]"/>
      <dgm:spPr/>
      <dgm:t>
        <a:bodyPr/>
        <a:lstStyle/>
        <a:p>
          <a:r>
            <a:rPr lang="es-CO" dirty="0" smtClean="0"/>
            <a:t>Construcción Segunda Calzada variante Gualanday </a:t>
          </a:r>
          <a:endParaRPr lang="es-CO" dirty="0"/>
        </a:p>
      </dgm:t>
    </dgm:pt>
    <dgm:pt modelId="{2B88BBD6-55BB-4D72-891E-CDDFFE8381DA}" type="parTrans" cxnId="{AFF5B639-60B8-46C9-9294-BA410FEDDD7E}">
      <dgm:prSet/>
      <dgm:spPr/>
      <dgm:t>
        <a:bodyPr/>
        <a:lstStyle/>
        <a:p>
          <a:endParaRPr lang="es-CO"/>
        </a:p>
      </dgm:t>
    </dgm:pt>
    <dgm:pt modelId="{30DCFAE9-960D-4842-939D-11D919E89046}" type="sibTrans" cxnId="{AFF5B639-60B8-46C9-9294-BA410FEDDD7E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2500" custLinFactNeighborY="466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8D79EB7C-58B5-4E2D-A6FC-A9EA55749806}" srcId="{3256AD19-79D9-4DD2-BD85-48D74080CB17}" destId="{DF048BB7-1DD9-44AF-9630-D85FBB5A02C0}" srcOrd="4" destOrd="0" parTransId="{E926F3DC-6328-40C7-81DE-2A652C7AF13F}" sibTransId="{5CFFB58F-0ADB-4951-B50E-A698A61EEF5C}"/>
    <dgm:cxn modelId="{AFF5B639-60B8-46C9-9294-BA410FEDDD7E}" srcId="{3256AD19-79D9-4DD2-BD85-48D74080CB17}" destId="{13842F4B-6614-4868-AAFF-E3DF7F2083BD}" srcOrd="2" destOrd="0" parTransId="{2B88BBD6-55BB-4D72-891E-CDDFFE8381DA}" sibTransId="{30DCFAE9-960D-4842-939D-11D919E89046}"/>
    <dgm:cxn modelId="{6164A828-8EA2-4520-9475-C7CF6DD2397A}" type="presOf" srcId="{3256AD19-79D9-4DD2-BD85-48D74080CB17}" destId="{FFC2669E-6EFE-4306-9BF4-0E6FE39D4B43}" srcOrd="0" destOrd="0" presId="urn:microsoft.com/office/officeart/2005/8/layout/hList1"/>
    <dgm:cxn modelId="{DD797386-4BB2-4BE7-99FA-7799D98A939E}" type="presOf" srcId="{CF84DDC2-96BF-432F-AA37-B7281110F630}" destId="{351DADD5-826D-416B-84E5-26678C386891}" srcOrd="0" destOrd="0" presId="urn:microsoft.com/office/officeart/2005/8/layout/hList1"/>
    <dgm:cxn modelId="{F1F324B4-6AFF-440B-96DD-27CE307BE3E0}" type="presOf" srcId="{62D32E80-FEA0-48C5-B4F3-D3A7B382CF4D}" destId="{AB09D624-FF1B-4987-8110-30D214096F41}" srcOrd="0" destOrd="0" presId="urn:microsoft.com/office/officeart/2005/8/layout/hList1"/>
    <dgm:cxn modelId="{4188CCA9-C42E-4B1E-A475-4633A5937345}" type="presOf" srcId="{DF048BB7-1DD9-44AF-9630-D85FBB5A02C0}" destId="{AB09D624-FF1B-4987-8110-30D214096F41}" srcOrd="0" destOrd="4" presId="urn:microsoft.com/office/officeart/2005/8/layout/hList1"/>
    <dgm:cxn modelId="{BABAF563-A977-473B-9468-FAF8A68290C2}" type="presOf" srcId="{921FFA1C-F221-4155-B905-C6B909DDB61B}" destId="{AB09D624-FF1B-4987-8110-30D214096F41}" srcOrd="0" destOrd="1" presId="urn:microsoft.com/office/officeart/2005/8/layout/hList1"/>
    <dgm:cxn modelId="{8B3DC1A5-0F74-4529-8059-D26C4231694E}" type="presOf" srcId="{13842F4B-6614-4868-AAFF-E3DF7F2083BD}" destId="{AB09D624-FF1B-4987-8110-30D214096F41}" srcOrd="0" destOrd="2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5B6E62B5-0E1F-45DA-8DB7-791846BCD5F4}" srcId="{3256AD19-79D9-4DD2-BD85-48D74080CB17}" destId="{0C3F0CC8-2E87-45C1-9548-86EA30D1BF88}" srcOrd="3" destOrd="0" parTransId="{237AB569-E317-4834-B714-956AF923F375}" sibTransId="{9069B949-6612-4007-8133-7CDAE0352234}"/>
    <dgm:cxn modelId="{9684775E-A22C-4946-8E4D-68A510845CCA}" type="presOf" srcId="{0C3F0CC8-2E87-45C1-9548-86EA30D1BF88}" destId="{AB09D624-FF1B-4987-8110-30D214096F41}" srcOrd="0" destOrd="3" presId="urn:microsoft.com/office/officeart/2005/8/layout/hList1"/>
    <dgm:cxn modelId="{21C0B863-9238-4E5D-B677-7983FC32341B}" srcId="{3256AD19-79D9-4DD2-BD85-48D74080CB17}" destId="{921FFA1C-F221-4155-B905-C6B909DDB61B}" srcOrd="1" destOrd="0" parTransId="{0B33C0AD-EA5D-470B-B3D5-AFF8863CD0AB}" sibTransId="{B3DA8D9D-D9B0-4D09-9AB0-C2D32870BF62}"/>
    <dgm:cxn modelId="{D8C99771-3324-40CA-B828-7E8CA7836B17}" type="presParOf" srcId="{351DADD5-826D-416B-84E5-26678C386891}" destId="{78A07495-0AF3-45E3-8386-C0DF5FF5E438}" srcOrd="0" destOrd="0" presId="urn:microsoft.com/office/officeart/2005/8/layout/hList1"/>
    <dgm:cxn modelId="{26A1A8E6-1906-48B5-8771-1710A4F02B01}" type="presParOf" srcId="{78A07495-0AF3-45E3-8386-C0DF5FF5E438}" destId="{FFC2669E-6EFE-4306-9BF4-0E6FE39D4B43}" srcOrd="0" destOrd="0" presId="urn:microsoft.com/office/officeart/2005/8/layout/hList1"/>
    <dgm:cxn modelId="{AE87E18D-ABF2-46F7-A791-3F923B3A6AC5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15,01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BA39C4A-810C-4796-B8B1-4A8CACD20CBC}">
      <dgm:prSet phldrT="[Texto]"/>
      <dgm:spPr/>
      <dgm:t>
        <a:bodyPr/>
        <a:lstStyle/>
        <a:p>
          <a:r>
            <a:rPr lang="es-CO" dirty="0"/>
            <a:t>Construcción Doble Calzada: </a:t>
          </a:r>
          <a:r>
            <a:rPr lang="es-ES" dirty="0"/>
            <a:t>7,05 Km</a:t>
          </a:r>
        </a:p>
      </dgm:t>
    </dgm:pt>
    <dgm:pt modelId="{F1FE0F2E-3871-4A29-B26E-FD568D86153B}" type="parTrans" cxnId="{407141A3-4745-4B5C-A0F7-B78C6F37F7C8}">
      <dgm:prSet/>
      <dgm:spPr/>
      <dgm:t>
        <a:bodyPr/>
        <a:lstStyle/>
        <a:p>
          <a:endParaRPr lang="es-ES"/>
        </a:p>
      </dgm:t>
    </dgm:pt>
    <dgm:pt modelId="{74D5557C-F1FE-4E5A-96BC-307DB7C4F64D}" type="sibTrans" cxnId="{407141A3-4745-4B5C-A0F7-B78C6F37F7C8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1932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974" custLinFactNeighborY="827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8A9DA52-FA33-47FC-8127-690EBE96B5A4}" type="presOf" srcId="{CF84DDC2-96BF-432F-AA37-B7281110F630}" destId="{351DADD5-826D-416B-84E5-26678C386891}" srcOrd="0" destOrd="0" presId="urn:microsoft.com/office/officeart/2005/8/layout/hList1"/>
    <dgm:cxn modelId="{5CEAD5C7-9FDF-4BEE-BB81-49E5A6BC54DB}" type="presOf" srcId="{3256AD19-79D9-4DD2-BD85-48D74080CB17}" destId="{FFC2669E-6EFE-4306-9BF4-0E6FE39D4B43}" srcOrd="0" destOrd="0" presId="urn:microsoft.com/office/officeart/2005/8/layout/hList1"/>
    <dgm:cxn modelId="{C4C8DC6E-ADFA-4670-A1B3-92B3C2BBFB74}" type="presOf" srcId="{62D32E80-FEA0-48C5-B4F3-D3A7B382CF4D}" destId="{AB09D624-FF1B-4987-8110-30D214096F41}" srcOrd="0" destOrd="0" presId="urn:microsoft.com/office/officeart/2005/8/layout/hList1"/>
    <dgm:cxn modelId="{CE535E14-63DB-4B2F-885A-6B83F880DDE6}" type="presOf" srcId="{8BA39C4A-810C-4796-B8B1-4A8CACD20CBC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407141A3-4745-4B5C-A0F7-B78C6F37F7C8}" srcId="{3256AD19-79D9-4DD2-BD85-48D74080CB17}" destId="{8BA39C4A-810C-4796-B8B1-4A8CACD20CBC}" srcOrd="1" destOrd="0" parTransId="{F1FE0F2E-3871-4A29-B26E-FD568D86153B}" sibTransId="{74D5557C-F1FE-4E5A-96BC-307DB7C4F64D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3D7909CC-A11A-4F64-8CD8-8405361B22E5}" type="presParOf" srcId="{351DADD5-826D-416B-84E5-26678C386891}" destId="{78A07495-0AF3-45E3-8386-C0DF5FF5E438}" srcOrd="0" destOrd="0" presId="urn:microsoft.com/office/officeart/2005/8/layout/hList1"/>
    <dgm:cxn modelId="{F62376C0-2CF5-4EEA-ABEB-9989B1DFDF6E}" type="presParOf" srcId="{78A07495-0AF3-45E3-8386-C0DF5FF5E438}" destId="{FFC2669E-6EFE-4306-9BF4-0E6FE39D4B43}" srcOrd="0" destOrd="0" presId="urn:microsoft.com/office/officeart/2005/8/layout/hList1"/>
    <dgm:cxn modelId="{71384093-B3C1-4DAF-9751-6566AC088110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Porcentaje de avance contractual construcción segunda calzada 5%, reporte medición tercer Hito 14 %. 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EE4C859B-583D-48C7-8588-101F47B0DFBF}">
      <dgm:prSet phldrT="[Texto]"/>
      <dgm:spPr/>
      <dgm:t>
        <a:bodyPr/>
        <a:lstStyle/>
        <a:p>
          <a:r>
            <a:rPr lang="es-CO" dirty="0" smtClean="0"/>
            <a:t>Actividades Operación y mantenimiento 100 %</a:t>
          </a:r>
          <a:endParaRPr lang="es-CO" dirty="0"/>
        </a:p>
      </dgm:t>
    </dgm:pt>
    <dgm:pt modelId="{3E90D929-BDB1-42C4-9564-D00877206475}" type="parTrans" cxnId="{24CDFA93-3435-4430-8A88-BD82DA548063}">
      <dgm:prSet/>
      <dgm:spPr/>
      <dgm:t>
        <a:bodyPr/>
        <a:lstStyle/>
        <a:p>
          <a:endParaRPr lang="es-CO"/>
        </a:p>
      </dgm:t>
    </dgm:pt>
    <dgm:pt modelId="{17FAB47E-F90F-4974-BF00-E55F0FADEA29}" type="sibTrans" cxnId="{24CDFA93-3435-4430-8A88-BD82DA548063}">
      <dgm:prSet/>
      <dgm:spPr/>
      <dgm:t>
        <a:bodyPr/>
        <a:lstStyle/>
        <a:p>
          <a:endParaRPr lang="es-CO"/>
        </a:p>
      </dgm:t>
    </dgm:pt>
    <dgm:pt modelId="{F659A331-C860-4030-9732-8E3772F60EAB}">
      <dgm:prSet phldrT="[Texto]"/>
      <dgm:spPr/>
      <dgm:t>
        <a:bodyPr/>
        <a:lstStyle/>
        <a:p>
          <a:r>
            <a:rPr lang="es-CO" dirty="0" smtClean="0"/>
            <a:t>Porcentaje Box Meneses 70%</a:t>
          </a:r>
          <a:endParaRPr lang="es-CO" dirty="0"/>
        </a:p>
      </dgm:t>
    </dgm:pt>
    <dgm:pt modelId="{8F68F06D-2D46-402F-8B5C-A8DEFE2A8022}" type="parTrans" cxnId="{4D66DD33-70F6-4FB4-843B-D882CD7EEA42}">
      <dgm:prSet/>
      <dgm:spPr/>
      <dgm:t>
        <a:bodyPr/>
        <a:lstStyle/>
        <a:p>
          <a:endParaRPr lang="es-CO"/>
        </a:p>
      </dgm:t>
    </dgm:pt>
    <dgm:pt modelId="{C766A971-9629-4BB9-BC1C-443944087973}" type="sibTrans" cxnId="{4D66DD33-70F6-4FB4-843B-D882CD7EEA42}">
      <dgm:prSet/>
      <dgm:spPr/>
      <dgm:t>
        <a:bodyPr/>
        <a:lstStyle/>
        <a:p>
          <a:endParaRPr lang="es-CO"/>
        </a:p>
      </dgm:t>
    </dgm:pt>
    <dgm:pt modelId="{294E629F-103B-4165-B11D-D36818D87D61}">
      <dgm:prSet phldrT="[Texto]"/>
      <dgm:spPr/>
      <dgm:t>
        <a:bodyPr/>
        <a:lstStyle/>
        <a:p>
          <a:r>
            <a:rPr lang="es-CO" dirty="0" smtClean="0"/>
            <a:t>Porcentaje Box Comunitario 78%</a:t>
          </a:r>
          <a:endParaRPr lang="es-CO" dirty="0"/>
        </a:p>
      </dgm:t>
    </dgm:pt>
    <dgm:pt modelId="{F08E2BB6-6766-4147-98E7-5C1CB6D1806B}" type="parTrans" cxnId="{96046A69-C9E1-4528-B486-A0599040BE64}">
      <dgm:prSet/>
      <dgm:spPr/>
      <dgm:t>
        <a:bodyPr/>
        <a:lstStyle/>
        <a:p>
          <a:endParaRPr lang="es-CO"/>
        </a:p>
      </dgm:t>
    </dgm:pt>
    <dgm:pt modelId="{56FDABE4-106A-4D16-A509-26B2723A30FA}" type="sibTrans" cxnId="{96046A69-C9E1-4528-B486-A0599040BE6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Y="-53587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13092" custLinFactNeighborY="483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2" destOrd="0" parTransId="{8AD0B8F5-BEA9-4429-9D88-BE5B410B4E8F}" sibTransId="{43D9E2AD-7995-4697-8F50-6A23483CF554}"/>
    <dgm:cxn modelId="{B6BC2799-6073-41C3-8529-DA10D178909C}" type="presOf" srcId="{CF84DDC2-96BF-432F-AA37-B7281110F630}" destId="{351DADD5-826D-416B-84E5-26678C386891}" srcOrd="0" destOrd="0" presId="urn:microsoft.com/office/officeart/2005/8/layout/hList1"/>
    <dgm:cxn modelId="{96046A69-C9E1-4528-B486-A0599040BE64}" srcId="{3256AD19-79D9-4DD2-BD85-48D74080CB17}" destId="{294E629F-103B-4165-B11D-D36818D87D61}" srcOrd="1" destOrd="0" parTransId="{F08E2BB6-6766-4147-98E7-5C1CB6D1806B}" sibTransId="{56FDABE4-106A-4D16-A509-26B2723A30FA}"/>
    <dgm:cxn modelId="{6D971FB8-3E13-4C30-81A0-94286403816D}" type="presOf" srcId="{294E629F-103B-4165-B11D-D36818D87D61}" destId="{AB09D624-FF1B-4987-8110-30D214096F41}" srcOrd="0" destOrd="1" presId="urn:microsoft.com/office/officeart/2005/8/layout/hList1"/>
    <dgm:cxn modelId="{036AF216-14C0-45F2-9767-CF0B06870456}" type="presOf" srcId="{F659A331-C860-4030-9732-8E3772F60EAB}" destId="{AB09D624-FF1B-4987-8110-30D214096F41}" srcOrd="0" destOrd="0" presId="urn:microsoft.com/office/officeart/2005/8/layout/hList1"/>
    <dgm:cxn modelId="{24CDFA93-3435-4430-8A88-BD82DA548063}" srcId="{3256AD19-79D9-4DD2-BD85-48D74080CB17}" destId="{EE4C859B-583D-48C7-8588-101F47B0DFBF}" srcOrd="3" destOrd="0" parTransId="{3E90D929-BDB1-42C4-9564-D00877206475}" sibTransId="{17FAB47E-F90F-4974-BF00-E55F0FADEA29}"/>
    <dgm:cxn modelId="{1A5A86EB-CA0D-4ECC-B17D-DAF918B61D50}" type="presOf" srcId="{3256AD19-79D9-4DD2-BD85-48D74080CB17}" destId="{FFC2669E-6EFE-4306-9BF4-0E6FE39D4B43}" srcOrd="0" destOrd="0" presId="urn:microsoft.com/office/officeart/2005/8/layout/hList1"/>
    <dgm:cxn modelId="{4D66DD33-70F6-4FB4-843B-D882CD7EEA42}" srcId="{3256AD19-79D9-4DD2-BD85-48D74080CB17}" destId="{F659A331-C860-4030-9732-8E3772F60EAB}" srcOrd="0" destOrd="0" parTransId="{8F68F06D-2D46-402F-8B5C-A8DEFE2A8022}" sibTransId="{C766A971-9629-4BB9-BC1C-443944087973}"/>
    <dgm:cxn modelId="{4F9E8CD2-831D-4EE6-A6DC-98AC59DE4082}" type="presOf" srcId="{62D32E80-FEA0-48C5-B4F3-D3A7B382CF4D}" destId="{AB09D624-FF1B-4987-8110-30D214096F41}" srcOrd="0" destOrd="2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186AAA26-A0D2-46A8-B08D-2E2A41C54342}" type="presOf" srcId="{EE4C859B-583D-48C7-8588-101F47B0DFBF}" destId="{AB09D624-FF1B-4987-8110-30D214096F41}" srcOrd="0" destOrd="3" presId="urn:microsoft.com/office/officeart/2005/8/layout/hList1"/>
    <dgm:cxn modelId="{22C5FAF1-6C61-4BFF-95CA-882476DE6C03}" type="presParOf" srcId="{351DADD5-826D-416B-84E5-26678C386891}" destId="{78A07495-0AF3-45E3-8386-C0DF5FF5E438}" srcOrd="0" destOrd="0" presId="urn:microsoft.com/office/officeart/2005/8/layout/hList1"/>
    <dgm:cxn modelId="{F5E54B2A-F40D-4FF8-8AE3-BFF08A6ACD9D}" type="presParOf" srcId="{78A07495-0AF3-45E3-8386-C0DF5FF5E438}" destId="{FFC2669E-6EFE-4306-9BF4-0E6FE39D4B43}" srcOrd="0" destOrd="0" presId="urn:microsoft.com/office/officeart/2005/8/layout/hList1"/>
    <dgm:cxn modelId="{5D8A5960-3BDA-43E7-BF15-309298BCECE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Operación y Mantenimiento del corredor 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E4EED39C-C313-4E3C-8FC9-32CC7AC8C363}">
      <dgm:prSet phldrT="[Texto]"/>
      <dgm:spPr/>
      <dgm:t>
        <a:bodyPr/>
        <a:lstStyle/>
        <a:p>
          <a:r>
            <a:rPr lang="es-CO" dirty="0" smtClean="0"/>
            <a:t>Reporte de Informes : Interventoría y Supervisión respecto de las gestiones y avances mensuales </a:t>
          </a:r>
          <a:endParaRPr lang="es-CO" dirty="0"/>
        </a:p>
      </dgm:t>
    </dgm:pt>
    <dgm:pt modelId="{5082698C-DDD6-48B8-B75C-587CDC01C960}" type="parTrans" cxnId="{79E32F84-E740-4F28-9A50-4A5DF0203E8F}">
      <dgm:prSet/>
      <dgm:spPr/>
      <dgm:t>
        <a:bodyPr/>
        <a:lstStyle/>
        <a:p>
          <a:endParaRPr lang="es-CO"/>
        </a:p>
      </dgm:t>
    </dgm:pt>
    <dgm:pt modelId="{783CF038-C152-4F84-B51E-2D5F6F89F4CF}" type="sibTrans" cxnId="{79E32F84-E740-4F28-9A50-4A5DF0203E8F}">
      <dgm:prSet/>
      <dgm:spPr/>
      <dgm:t>
        <a:bodyPr/>
        <a:lstStyle/>
        <a:p>
          <a:endParaRPr lang="es-CO"/>
        </a:p>
      </dgm:t>
    </dgm:pt>
    <dgm:pt modelId="{7B26D0C0-BD53-4035-9CFD-AE1C738E9B22}">
      <dgm:prSet phldrT="[Texto]"/>
      <dgm:spPr/>
      <dgm:t>
        <a:bodyPr/>
        <a:lstStyle/>
        <a:p>
          <a:r>
            <a:rPr lang="es-CO" dirty="0" smtClean="0"/>
            <a:t>Elaboración de Estudios y diseños para la atención de Puntos Críticos no contractuales identificados </a:t>
          </a:r>
          <a:endParaRPr lang="es-CO" dirty="0"/>
        </a:p>
      </dgm:t>
    </dgm:pt>
    <dgm:pt modelId="{97927E4A-BAD6-4074-B1F7-7E6FCCCAB4D1}" type="parTrans" cxnId="{57347FFC-9667-4F65-ADA6-99FECDC0AF95}">
      <dgm:prSet/>
      <dgm:spPr/>
      <dgm:t>
        <a:bodyPr/>
        <a:lstStyle/>
        <a:p>
          <a:endParaRPr lang="es-CO"/>
        </a:p>
      </dgm:t>
    </dgm:pt>
    <dgm:pt modelId="{10D11EC3-55AA-4EB6-8AA3-9AE9820F0831}" type="sibTrans" cxnId="{57347FFC-9667-4F65-ADA6-99FECDC0AF95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2D566F03-F3B5-4591-AADA-01BAF24081D3}" type="presOf" srcId="{3256AD19-79D9-4DD2-BD85-48D74080CB17}" destId="{FFC2669E-6EFE-4306-9BF4-0E6FE39D4B43}" srcOrd="0" destOrd="0" presId="urn:microsoft.com/office/officeart/2005/8/layout/hList1"/>
    <dgm:cxn modelId="{603BC7BA-FB3E-4FE3-9769-F62AE4EE8068}" type="presOf" srcId="{CF84DDC2-96BF-432F-AA37-B7281110F630}" destId="{351DADD5-826D-416B-84E5-26678C386891}" srcOrd="0" destOrd="0" presId="urn:microsoft.com/office/officeart/2005/8/layout/hList1"/>
    <dgm:cxn modelId="{7D4BDDFE-1EAC-4492-8413-CB119FD69604}" type="presOf" srcId="{7B26D0C0-BD53-4035-9CFD-AE1C738E9B22}" destId="{AB09D624-FF1B-4987-8110-30D214096F41}" srcOrd="0" destOrd="2" presId="urn:microsoft.com/office/officeart/2005/8/layout/hList1"/>
    <dgm:cxn modelId="{271A3B9E-C075-406D-80D2-76BC3B500F08}" type="presOf" srcId="{62D32E80-FEA0-48C5-B4F3-D3A7B382CF4D}" destId="{AB09D624-FF1B-4987-8110-30D214096F41}" srcOrd="0" destOrd="0" presId="urn:microsoft.com/office/officeart/2005/8/layout/hList1"/>
    <dgm:cxn modelId="{79E32F84-E740-4F28-9A50-4A5DF0203E8F}" srcId="{3256AD19-79D9-4DD2-BD85-48D74080CB17}" destId="{E4EED39C-C313-4E3C-8FC9-32CC7AC8C363}" srcOrd="1" destOrd="0" parTransId="{5082698C-DDD6-48B8-B75C-587CDC01C960}" sibTransId="{783CF038-C152-4F84-B51E-2D5F6F89F4CF}"/>
    <dgm:cxn modelId="{57347FFC-9667-4F65-ADA6-99FECDC0AF95}" srcId="{3256AD19-79D9-4DD2-BD85-48D74080CB17}" destId="{7B26D0C0-BD53-4035-9CFD-AE1C738E9B22}" srcOrd="2" destOrd="0" parTransId="{97927E4A-BAD6-4074-B1F7-7E6FCCCAB4D1}" sibTransId="{10D11EC3-55AA-4EB6-8AA3-9AE9820F0831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062B1DC3-5D8D-40D0-95F9-43F5FA67CF07}" type="presOf" srcId="{E4EED39C-C313-4E3C-8FC9-32CC7AC8C363}" destId="{AB09D624-FF1B-4987-8110-30D214096F41}" srcOrd="0" destOrd="1" presId="urn:microsoft.com/office/officeart/2005/8/layout/hList1"/>
    <dgm:cxn modelId="{035938EF-9B59-4D1D-B540-45A88B16BE82}" type="presParOf" srcId="{351DADD5-826D-416B-84E5-26678C386891}" destId="{78A07495-0AF3-45E3-8386-C0DF5FF5E438}" srcOrd="0" destOrd="0" presId="urn:microsoft.com/office/officeart/2005/8/layout/hList1"/>
    <dgm:cxn modelId="{418F065F-29C7-450C-884B-132543B7F36B}" type="presParOf" srcId="{78A07495-0AF3-45E3-8386-C0DF5FF5E438}" destId="{FFC2669E-6EFE-4306-9BF4-0E6FE39D4B43}" srcOrd="0" destOrd="0" presId="urn:microsoft.com/office/officeart/2005/8/layout/hList1"/>
    <dgm:cxn modelId="{14739CA3-9A55-495D-B6A3-2308845105CC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Operación y mantenimiento en cada uno de sus tramos : labores de señalización ,demarcación horizontal, instalación de dispositivos de seguridad vial y demás correspondientes a mantenimiento rutinario del corredor 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5705ECD4-8737-49DB-9095-4905E423FCF6}">
      <dgm:prSet phldrT="[Texto]"/>
      <dgm:spPr/>
      <dgm:t>
        <a:bodyPr/>
        <a:lstStyle/>
        <a:p>
          <a:r>
            <a:rPr lang="es-CO" dirty="0" smtClean="0"/>
            <a:t>Presentación de informes correspondientes: Interventoría y supervisión según requisitos e ítems de gestión mensual.</a:t>
          </a:r>
          <a:endParaRPr lang="es-CO" dirty="0"/>
        </a:p>
      </dgm:t>
    </dgm:pt>
    <dgm:pt modelId="{E9B5BCF4-A827-4CDF-9A2D-B28971EA40B4}" type="parTrans" cxnId="{31BCD463-E4FC-4FD1-BE95-57A3D1DB6FD5}">
      <dgm:prSet/>
      <dgm:spPr/>
      <dgm:t>
        <a:bodyPr/>
        <a:lstStyle/>
        <a:p>
          <a:endParaRPr lang="es-CO"/>
        </a:p>
      </dgm:t>
    </dgm:pt>
    <dgm:pt modelId="{2B5DD1D8-7142-4731-9EB6-C1A4555E5A04}" type="sibTrans" cxnId="{31BCD463-E4FC-4FD1-BE95-57A3D1DB6FD5}">
      <dgm:prSet/>
      <dgm:spPr/>
      <dgm:t>
        <a:bodyPr/>
        <a:lstStyle/>
        <a:p>
          <a:endParaRPr lang="es-CO"/>
        </a:p>
      </dgm:t>
    </dgm:pt>
    <dgm:pt modelId="{8B0B6D73-5824-4923-B794-D1C879BC0F71}">
      <dgm:prSet phldrT="[Texto]"/>
      <dgm:spPr/>
      <dgm:t>
        <a:bodyPr/>
        <a:lstStyle/>
        <a:p>
          <a:r>
            <a:rPr lang="es-CO" dirty="0" smtClean="0"/>
            <a:t>Suscripción de acta de entendimiento para la elaboración de Estudios y Diseños fase II para la atención de Puntos Críticos no contractuales identificados  en tres sectores comprendidos en el tramo Ubaté - Susa (Cundinamarca) </a:t>
          </a:r>
          <a:endParaRPr lang="es-CO" dirty="0"/>
        </a:p>
      </dgm:t>
    </dgm:pt>
    <dgm:pt modelId="{2620E4EA-F629-4C92-A115-BBA5259673C7}" type="parTrans" cxnId="{2A466519-C412-4725-A6C4-69EE2ED6EC38}">
      <dgm:prSet/>
      <dgm:spPr/>
      <dgm:t>
        <a:bodyPr/>
        <a:lstStyle/>
        <a:p>
          <a:endParaRPr lang="es-CO"/>
        </a:p>
      </dgm:t>
    </dgm:pt>
    <dgm:pt modelId="{2555DADB-E4E1-4532-8EBB-63BA878D85C3}" type="sibTrans" cxnId="{2A466519-C412-4725-A6C4-69EE2ED6EC38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514" custLinFactNeighborY="-388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716" custLinFactNeighborY="-710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1BCD463-E4FC-4FD1-BE95-57A3D1DB6FD5}" srcId="{3256AD19-79D9-4DD2-BD85-48D74080CB17}" destId="{5705ECD4-8737-49DB-9095-4905E423FCF6}" srcOrd="1" destOrd="0" parTransId="{E9B5BCF4-A827-4CDF-9A2D-B28971EA40B4}" sibTransId="{2B5DD1D8-7142-4731-9EB6-C1A4555E5A04}"/>
    <dgm:cxn modelId="{2A466519-C412-4725-A6C4-69EE2ED6EC38}" srcId="{3256AD19-79D9-4DD2-BD85-48D74080CB17}" destId="{8B0B6D73-5824-4923-B794-D1C879BC0F71}" srcOrd="2" destOrd="0" parTransId="{2620E4EA-F629-4C92-A115-BBA5259673C7}" sibTransId="{2555DADB-E4E1-4532-8EBB-63BA878D85C3}"/>
    <dgm:cxn modelId="{EDE6D944-A410-427E-A0E3-43362D1FB99A}" type="presOf" srcId="{8B0B6D73-5824-4923-B794-D1C879BC0F71}" destId="{AB09D624-FF1B-4987-8110-30D214096F41}" srcOrd="0" destOrd="2" presId="urn:microsoft.com/office/officeart/2005/8/layout/hList1"/>
    <dgm:cxn modelId="{A78C9614-CB3C-4894-BAAD-C1F0F73B5090}" type="presOf" srcId="{3256AD19-79D9-4DD2-BD85-48D74080CB17}" destId="{FFC2669E-6EFE-4306-9BF4-0E6FE39D4B43}" srcOrd="0" destOrd="0" presId="urn:microsoft.com/office/officeart/2005/8/layout/hList1"/>
    <dgm:cxn modelId="{9CD1D290-CE6C-4646-9719-5A367C871D90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7690F981-4A29-4F75-9C15-891DA5EEF27C}" type="presOf" srcId="{CF84DDC2-96BF-432F-AA37-B7281110F630}" destId="{351DADD5-826D-416B-84E5-26678C386891}" srcOrd="0" destOrd="0" presId="urn:microsoft.com/office/officeart/2005/8/layout/hList1"/>
    <dgm:cxn modelId="{F80C79EC-9209-4F77-B000-174B6693E3C6}" type="presOf" srcId="{5705ECD4-8737-49DB-9095-4905E423FCF6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190ED89-FA52-43D3-A939-B12AB7F90EE6}" type="presParOf" srcId="{351DADD5-826D-416B-84E5-26678C386891}" destId="{78A07495-0AF3-45E3-8386-C0DF5FF5E438}" srcOrd="0" destOrd="0" presId="urn:microsoft.com/office/officeart/2005/8/layout/hList1"/>
    <dgm:cxn modelId="{B1C11727-F233-4197-BBFC-CFA964606271}" type="presParOf" srcId="{78A07495-0AF3-45E3-8386-C0DF5FF5E438}" destId="{FFC2669E-6EFE-4306-9BF4-0E6FE39D4B43}" srcOrd="0" destOrd="0" presId="urn:microsoft.com/office/officeart/2005/8/layout/hList1"/>
    <dgm:cxn modelId="{D493BA0F-6F71-48E1-A6AB-FAFC9A22ADB3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18,01 kilómetros de Rehabilitación en el tramo El Salitre – Guasca – </a:t>
          </a:r>
          <a:r>
            <a:rPr lang="es-CO" dirty="0" err="1" smtClean="0"/>
            <a:t>Sesquile</a:t>
          </a:r>
          <a:r>
            <a:rPr lang="es-CO" dirty="0" smtClean="0"/>
            <a:t> (UF-1)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4D35F744-4EA2-40CD-AC3A-E6FF2647237C}">
      <dgm:prSet phldrT="[Texto]"/>
      <dgm:spPr/>
      <dgm:t>
        <a:bodyPr/>
        <a:lstStyle/>
        <a:p>
          <a:r>
            <a:rPr lang="es-CO" dirty="0" smtClean="0"/>
            <a:t>3,59 Kilómetros de Mejoramiento</a:t>
          </a:r>
          <a:endParaRPr lang="es-CO" dirty="0"/>
        </a:p>
      </dgm:t>
    </dgm:pt>
    <dgm:pt modelId="{EAEA021B-150A-4A11-ABEF-CBCF68AAF4DE}" type="parTrans" cxnId="{F1BBFCB0-0329-4E38-A4DA-147EEAEFBA42}">
      <dgm:prSet/>
      <dgm:spPr/>
      <dgm:t>
        <a:bodyPr/>
        <a:lstStyle/>
        <a:p>
          <a:endParaRPr lang="es-ES"/>
        </a:p>
      </dgm:t>
    </dgm:pt>
    <dgm:pt modelId="{A4B9C875-9B1E-46E1-9B8D-01E7A028B681}" type="sibTrans" cxnId="{F1BBFCB0-0329-4E38-A4DA-147EEAEFBA42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F1BBFCB0-0329-4E38-A4DA-147EEAEFBA42}" srcId="{3256AD19-79D9-4DD2-BD85-48D74080CB17}" destId="{4D35F744-4EA2-40CD-AC3A-E6FF2647237C}" srcOrd="1" destOrd="0" parTransId="{EAEA021B-150A-4A11-ABEF-CBCF68AAF4DE}" sibTransId="{A4B9C875-9B1E-46E1-9B8D-01E7A028B681}"/>
    <dgm:cxn modelId="{E3A7E880-09F7-46BB-905B-FF06AC27ED99}" type="presOf" srcId="{CF84DDC2-96BF-432F-AA37-B7281110F630}" destId="{351DADD5-826D-416B-84E5-26678C386891}" srcOrd="0" destOrd="0" presId="urn:microsoft.com/office/officeart/2005/8/layout/hList1"/>
    <dgm:cxn modelId="{F3015185-BA66-4EAE-8508-575F8618AAB9}" type="presOf" srcId="{62D32E80-FEA0-48C5-B4F3-D3A7B382CF4D}" destId="{AB09D624-FF1B-4987-8110-30D214096F41}" srcOrd="0" destOrd="0" presId="urn:microsoft.com/office/officeart/2005/8/layout/hList1"/>
    <dgm:cxn modelId="{92CE5ED9-E396-422B-9743-2BF9037B7C94}" type="presOf" srcId="{3256AD19-79D9-4DD2-BD85-48D74080CB17}" destId="{FFC2669E-6EFE-4306-9BF4-0E6FE39D4B43}" srcOrd="0" destOrd="0" presId="urn:microsoft.com/office/officeart/2005/8/layout/hList1"/>
    <dgm:cxn modelId="{383F35B1-5071-4680-A96A-768732561C34}" type="presOf" srcId="{4D35F744-4EA2-40CD-AC3A-E6FF2647237C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0C3C4769-092D-48DE-A6A9-D2DE2F7A9B72}" type="presParOf" srcId="{351DADD5-826D-416B-84E5-26678C386891}" destId="{78A07495-0AF3-45E3-8386-C0DF5FF5E438}" srcOrd="0" destOrd="0" presId="urn:microsoft.com/office/officeart/2005/8/layout/hList1"/>
    <dgm:cxn modelId="{F832E5B7-12A6-4A0C-871F-61E1DA2BCEFE}" type="presParOf" srcId="{78A07495-0AF3-45E3-8386-C0DF5FF5E438}" destId="{FFC2669E-6EFE-4306-9BF4-0E6FE39D4B43}" srcOrd="0" destOrd="0" presId="urn:microsoft.com/office/officeart/2005/8/layout/hList1"/>
    <dgm:cxn modelId="{A468ACC6-804A-4A75-90DC-27D725D70618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1,14 Kilómetros de rehabilitación (Unidad Funcional 1)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A2DC6EEF-0127-4705-B14D-97CC916C4324}">
      <dgm:prSet phldrT="[Texto]"/>
      <dgm:spPr/>
      <dgm:t>
        <a:bodyPr/>
        <a:lstStyle/>
        <a:p>
          <a:endParaRPr lang="es-CO" dirty="0"/>
        </a:p>
      </dgm:t>
    </dgm:pt>
    <dgm:pt modelId="{EDCA4045-0D38-42A4-85F7-45DC828A09D1}" type="parTrans" cxnId="{035F1859-D9A2-40F6-97F3-F4D3137579BF}">
      <dgm:prSet/>
      <dgm:spPr/>
      <dgm:t>
        <a:bodyPr/>
        <a:lstStyle/>
        <a:p>
          <a:endParaRPr lang="es-ES"/>
        </a:p>
      </dgm:t>
    </dgm:pt>
    <dgm:pt modelId="{521FFF3C-F8A8-46B6-A695-4AE797E91486}" type="sibTrans" cxnId="{035F1859-D9A2-40F6-97F3-F4D3137579BF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77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35F1859-D9A2-40F6-97F3-F4D3137579BF}" srcId="{3256AD19-79D9-4DD2-BD85-48D74080CB17}" destId="{A2DC6EEF-0127-4705-B14D-97CC916C4324}" srcOrd="1" destOrd="0" parTransId="{EDCA4045-0D38-42A4-85F7-45DC828A09D1}" sibTransId="{521FFF3C-F8A8-46B6-A695-4AE797E91486}"/>
    <dgm:cxn modelId="{2DA20B5C-C398-4942-93CD-05C6F1872A80}" type="presOf" srcId="{CF84DDC2-96BF-432F-AA37-B7281110F630}" destId="{351DADD5-826D-416B-84E5-26678C386891}" srcOrd="0" destOrd="0" presId="urn:microsoft.com/office/officeart/2005/8/layout/hList1"/>
    <dgm:cxn modelId="{896E8008-2F99-4EC5-AAC8-4A1E3F13ADB8}" type="presOf" srcId="{3256AD19-79D9-4DD2-BD85-48D74080CB17}" destId="{FFC2669E-6EFE-4306-9BF4-0E6FE39D4B43}" srcOrd="0" destOrd="0" presId="urn:microsoft.com/office/officeart/2005/8/layout/hList1"/>
    <dgm:cxn modelId="{ED627CBB-DC1A-48A5-899D-21908CCB84C4}" type="presOf" srcId="{A2DC6EEF-0127-4705-B14D-97CC916C4324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8056432E-7A4F-46C6-9967-73F559CF88F2}" type="presOf" srcId="{62D32E80-FEA0-48C5-B4F3-D3A7B382CF4D}" destId="{AB09D624-FF1B-4987-8110-30D214096F4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58441F4-9F13-4C47-B9CB-00DC66C056D9}" type="presParOf" srcId="{351DADD5-826D-416B-84E5-26678C386891}" destId="{78A07495-0AF3-45E3-8386-C0DF5FF5E438}" srcOrd="0" destOrd="0" presId="urn:microsoft.com/office/officeart/2005/8/layout/hList1"/>
    <dgm:cxn modelId="{2DCE6ED1-D0E4-4131-BCC6-56B0C20A75C3}" type="presParOf" srcId="{78A07495-0AF3-45E3-8386-C0DF5FF5E438}" destId="{FFC2669E-6EFE-4306-9BF4-0E6FE39D4B43}" srcOrd="0" destOrd="0" presId="urn:microsoft.com/office/officeart/2005/8/layout/hList1"/>
    <dgm:cxn modelId="{A648D2DD-4673-4B90-BE23-89B5C1872EBB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ES" dirty="0" smtClean="0"/>
            <a:t>Obtener Licenciamiento ambiental de los tramos 2 y 3 – UF1  (septiembre de 2016)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C929EDA-C0B1-4202-A212-CA88C66BBD30}">
      <dgm:prSet phldrT="[Texto]"/>
      <dgm:spPr/>
      <dgm:t>
        <a:bodyPr/>
        <a:lstStyle/>
        <a:p>
          <a:r>
            <a:rPr lang="es-ES" dirty="0" smtClean="0"/>
            <a:t>Inicio de construcción de los tramos 2 y 3 (septiembre  de 2016) </a:t>
          </a:r>
          <a:endParaRPr lang="es-CO" dirty="0"/>
        </a:p>
      </dgm:t>
    </dgm:pt>
    <dgm:pt modelId="{765C8CDF-E665-476C-B0F2-40D9F88E5ED3}" type="parTrans" cxnId="{F17FDE6C-0802-4E7A-BCE3-7A1C3AC8E03D}">
      <dgm:prSet/>
      <dgm:spPr/>
      <dgm:t>
        <a:bodyPr/>
        <a:lstStyle/>
        <a:p>
          <a:endParaRPr lang="es-CO"/>
        </a:p>
      </dgm:t>
    </dgm:pt>
    <dgm:pt modelId="{E8CA4778-4588-47FB-9260-2AB2EE242EC2}" type="sibTrans" cxnId="{F17FDE6C-0802-4E7A-BCE3-7A1C3AC8E03D}">
      <dgm:prSet/>
      <dgm:spPr/>
      <dgm:t>
        <a:bodyPr/>
        <a:lstStyle/>
        <a:p>
          <a:endParaRPr lang="es-CO"/>
        </a:p>
      </dgm:t>
    </dgm:pt>
    <dgm:pt modelId="{506F5259-E6B2-4F63-B7D6-743E5CAC467F}">
      <dgm:prSet phldrT="[Texto]"/>
      <dgm:spPr/>
      <dgm:t>
        <a:bodyPr/>
        <a:lstStyle/>
        <a:p>
          <a:r>
            <a:rPr lang="es-ES" dirty="0" smtClean="0"/>
            <a:t>Inicio y aplicación del Plan de Reasentamiento (diciembre de 2016)</a:t>
          </a:r>
          <a:endParaRPr lang="es-CO" dirty="0"/>
        </a:p>
      </dgm:t>
    </dgm:pt>
    <dgm:pt modelId="{7BF73346-887C-407B-ADB4-91E900D3E74C}" type="parTrans" cxnId="{C8E8A2CA-8FBF-4A24-8524-58CCF0126A6F}">
      <dgm:prSet/>
      <dgm:spPr/>
      <dgm:t>
        <a:bodyPr/>
        <a:lstStyle/>
        <a:p>
          <a:endParaRPr lang="es-CO"/>
        </a:p>
      </dgm:t>
    </dgm:pt>
    <dgm:pt modelId="{D34C574F-A34D-4DF9-BB36-EA24C798CDDD}" type="sibTrans" cxnId="{C8E8A2CA-8FBF-4A24-8524-58CCF0126A6F}">
      <dgm:prSet/>
      <dgm:spPr/>
      <dgm:t>
        <a:bodyPr/>
        <a:lstStyle/>
        <a:p>
          <a:endParaRPr lang="es-CO"/>
        </a:p>
      </dgm:t>
    </dgm:pt>
    <dgm:pt modelId="{C1E1568F-4DA3-4AAE-B962-AB497A7DBE11}">
      <dgm:prSet phldrT="[Texto]"/>
      <dgm:spPr/>
      <dgm:t>
        <a:bodyPr/>
        <a:lstStyle/>
        <a:p>
          <a:endParaRPr lang="es-CO" dirty="0"/>
        </a:p>
      </dgm:t>
    </dgm:pt>
    <dgm:pt modelId="{AF283083-3DC2-44B2-BE84-BB35F6C9A6ED}" type="parTrans" cxnId="{EA67C679-3D46-4B84-9427-F3FFF6BB3B05}">
      <dgm:prSet/>
      <dgm:spPr/>
      <dgm:t>
        <a:bodyPr/>
        <a:lstStyle/>
        <a:p>
          <a:endParaRPr lang="es-CO"/>
        </a:p>
      </dgm:t>
    </dgm:pt>
    <dgm:pt modelId="{27148310-5483-4020-ADE9-A5CF6DBBBF66}" type="sibTrans" cxnId="{EA67C679-3D46-4B84-9427-F3FFF6BB3B05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89CE993-5A43-4F78-8A94-7811D1CB36ED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F17FDE6C-0802-4E7A-BCE3-7A1C3AC8E03D}" srcId="{3256AD19-79D9-4DD2-BD85-48D74080CB17}" destId="{3C929EDA-C0B1-4202-A212-CA88C66BBD30}" srcOrd="1" destOrd="0" parTransId="{765C8CDF-E665-476C-B0F2-40D9F88E5ED3}" sibTransId="{E8CA4778-4588-47FB-9260-2AB2EE242EC2}"/>
    <dgm:cxn modelId="{EA67C679-3D46-4B84-9427-F3FFF6BB3B05}" srcId="{3256AD19-79D9-4DD2-BD85-48D74080CB17}" destId="{C1E1568F-4DA3-4AAE-B962-AB497A7DBE11}" srcOrd="3" destOrd="0" parTransId="{AF283083-3DC2-44B2-BE84-BB35F6C9A6ED}" sibTransId="{27148310-5483-4020-ADE9-A5CF6DBBBF66}"/>
    <dgm:cxn modelId="{C93B3BE7-386C-4C66-AA0B-D6C5A3BB6E15}" type="presOf" srcId="{3256AD19-79D9-4DD2-BD85-48D74080CB17}" destId="{FFC2669E-6EFE-4306-9BF4-0E6FE39D4B43}" srcOrd="0" destOrd="0" presId="urn:microsoft.com/office/officeart/2005/8/layout/hList1"/>
    <dgm:cxn modelId="{64420A25-4C36-49C4-9C2D-C9BE90B39C4D}" type="presOf" srcId="{3C929EDA-C0B1-4202-A212-CA88C66BBD30}" destId="{AB09D624-FF1B-4987-8110-30D214096F41}" srcOrd="0" destOrd="1" presId="urn:microsoft.com/office/officeart/2005/8/layout/hList1"/>
    <dgm:cxn modelId="{1C97190A-9EF1-484D-A9F5-C8890E284C45}" type="presOf" srcId="{CF84DDC2-96BF-432F-AA37-B7281110F630}" destId="{351DADD5-826D-416B-84E5-26678C386891}" srcOrd="0" destOrd="0" presId="urn:microsoft.com/office/officeart/2005/8/layout/hList1"/>
    <dgm:cxn modelId="{C31963C0-BFA4-4E22-9F99-F607D65CC3F8}" type="presOf" srcId="{506F5259-E6B2-4F63-B7D6-743E5CAC467F}" destId="{AB09D624-FF1B-4987-8110-30D214096F41}" srcOrd="0" destOrd="2" presId="urn:microsoft.com/office/officeart/2005/8/layout/hList1"/>
    <dgm:cxn modelId="{552668EF-2881-4ADA-8835-AE18B719C5DB}" type="presOf" srcId="{C1E1568F-4DA3-4AAE-B962-AB497A7DBE11}" destId="{AB09D624-FF1B-4987-8110-30D214096F41}" srcOrd="0" destOrd="3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8E8A2CA-8FBF-4A24-8524-58CCF0126A6F}" srcId="{3256AD19-79D9-4DD2-BD85-48D74080CB17}" destId="{506F5259-E6B2-4F63-B7D6-743E5CAC467F}" srcOrd="2" destOrd="0" parTransId="{7BF73346-887C-407B-ADB4-91E900D3E74C}" sibTransId="{D34C574F-A34D-4DF9-BB36-EA24C798CDDD}"/>
    <dgm:cxn modelId="{810295EE-D34B-480C-8765-07CA12063303}" type="presParOf" srcId="{351DADD5-826D-416B-84E5-26678C386891}" destId="{78A07495-0AF3-45E3-8386-C0DF5FF5E438}" srcOrd="0" destOrd="0" presId="urn:microsoft.com/office/officeart/2005/8/layout/hList1"/>
    <dgm:cxn modelId="{0C2BA330-AE56-4FA4-9B96-92A2215FDAE1}" type="presParOf" srcId="{78A07495-0AF3-45E3-8386-C0DF5FF5E438}" destId="{FFC2669E-6EFE-4306-9BF4-0E6FE39D4B43}" srcOrd="0" destOrd="0" presId="urn:microsoft.com/office/officeart/2005/8/layout/hList1"/>
    <dgm:cxn modelId="{B876457A-35FA-40DA-A900-C6C4F74FAE6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ES" sz="1200" b="1" dirty="0" smtClean="0"/>
            <a:t>AVANCE CONSTRUCCIÓN DEL PROYECTO: 1%</a:t>
          </a:r>
          <a:endParaRPr lang="es-CO" sz="1200" b="1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29AA6377-67FE-437F-9254-7182DEE16AB2}">
      <dgm:prSet phldrT="[Texto]"/>
      <dgm:spPr/>
      <dgm:t>
        <a:bodyPr/>
        <a:lstStyle/>
        <a:p>
          <a:r>
            <a:rPr lang="es-ES" sz="1200" b="1" dirty="0" smtClean="0"/>
            <a:t>EYD Fase III UF2: 70%</a:t>
          </a:r>
          <a:endParaRPr lang="es-CO" sz="1200" b="1" dirty="0"/>
        </a:p>
      </dgm:t>
    </dgm:pt>
    <dgm:pt modelId="{A1D60601-4CA1-4D41-BED9-852111B3F366}" type="parTrans" cxnId="{441F32F4-F6A8-4EC2-A3C0-0C84C4621649}">
      <dgm:prSet/>
      <dgm:spPr/>
      <dgm:t>
        <a:bodyPr/>
        <a:lstStyle/>
        <a:p>
          <a:endParaRPr lang="es-CO"/>
        </a:p>
      </dgm:t>
    </dgm:pt>
    <dgm:pt modelId="{3F255E9A-A224-4A1B-A4EC-9BF979E02038}" type="sibTrans" cxnId="{441F32F4-F6A8-4EC2-A3C0-0C84C4621649}">
      <dgm:prSet/>
      <dgm:spPr/>
      <dgm:t>
        <a:bodyPr/>
        <a:lstStyle/>
        <a:p>
          <a:endParaRPr lang="es-CO"/>
        </a:p>
      </dgm:t>
    </dgm:pt>
    <dgm:pt modelId="{02ED528F-C8FC-4C72-B475-E77AD1624D6B}">
      <dgm:prSet phldrT="[Texto]" custT="1"/>
      <dgm:spPr/>
      <dgm:t>
        <a:bodyPr/>
        <a:lstStyle/>
        <a:p>
          <a:r>
            <a:rPr lang="es-ES" sz="1100" dirty="0" smtClean="0"/>
            <a:t>Puente 2 Combeima (excavación de pilotes y caissons) avance: 10%</a:t>
          </a:r>
          <a:endParaRPr lang="es-CO" sz="1100" dirty="0"/>
        </a:p>
      </dgm:t>
    </dgm:pt>
    <dgm:pt modelId="{477D31CA-671E-4484-84A9-9A29043914BD}" type="parTrans" cxnId="{1384A2F9-C807-4BB8-82AF-75E69FBCC5FC}">
      <dgm:prSet/>
      <dgm:spPr/>
      <dgm:t>
        <a:bodyPr/>
        <a:lstStyle/>
        <a:p>
          <a:endParaRPr lang="es-CO"/>
        </a:p>
      </dgm:t>
    </dgm:pt>
    <dgm:pt modelId="{A870ACC1-BDAE-4C2E-AA26-C4D8187D13B2}" type="sibTrans" cxnId="{1384A2F9-C807-4BB8-82AF-75E69FBCC5FC}">
      <dgm:prSet/>
      <dgm:spPr/>
      <dgm:t>
        <a:bodyPr/>
        <a:lstStyle/>
        <a:p>
          <a:endParaRPr lang="es-CO"/>
        </a:p>
      </dgm:t>
    </dgm:pt>
    <dgm:pt modelId="{BC6DDC18-52FD-4139-B846-B2F5EA8F3754}">
      <dgm:prSet phldrT="[Texto]" custT="1"/>
      <dgm:spPr/>
      <dgm:t>
        <a:bodyPr/>
        <a:lstStyle/>
        <a:p>
          <a:r>
            <a:rPr lang="es-ES" sz="1100" dirty="0" smtClean="0"/>
            <a:t>Puente 5 Combeima (excavación de pilotes y caissons) avance: 12%</a:t>
          </a:r>
          <a:endParaRPr lang="es-CO" sz="1100" dirty="0"/>
        </a:p>
      </dgm:t>
    </dgm:pt>
    <dgm:pt modelId="{A836D32C-9B48-4A41-8340-49FB64FD617E}" type="parTrans" cxnId="{9A360893-531F-4C1A-B7BD-E1C24C2C81FB}">
      <dgm:prSet/>
      <dgm:spPr/>
      <dgm:t>
        <a:bodyPr/>
        <a:lstStyle/>
        <a:p>
          <a:endParaRPr lang="es-CO"/>
        </a:p>
      </dgm:t>
    </dgm:pt>
    <dgm:pt modelId="{19DF0F8A-BFCA-4CD6-9EB5-55376759998E}" type="sibTrans" cxnId="{9A360893-531F-4C1A-B7BD-E1C24C2C81FB}">
      <dgm:prSet/>
      <dgm:spPr/>
      <dgm:t>
        <a:bodyPr/>
        <a:lstStyle/>
        <a:p>
          <a:endParaRPr lang="es-CO"/>
        </a:p>
      </dgm:t>
    </dgm:pt>
    <dgm:pt modelId="{CF3051E6-8141-437E-86E2-BC341DF152BC}">
      <dgm:prSet phldrT="[Texto]" custT="1"/>
      <dgm:spPr/>
      <dgm:t>
        <a:bodyPr/>
        <a:lstStyle/>
        <a:p>
          <a:r>
            <a:rPr lang="es-ES" sz="1100" dirty="0" smtClean="0"/>
            <a:t>Puente 10 Combeima (excavación de pilotes y caissons) avance: 17%</a:t>
          </a:r>
          <a:endParaRPr lang="es-CO" sz="1100" dirty="0"/>
        </a:p>
      </dgm:t>
    </dgm:pt>
    <dgm:pt modelId="{E1298513-AAF5-4D79-93B1-5EE431F75D4A}" type="parTrans" cxnId="{14390D2D-C37D-4730-8287-52CB15B01394}">
      <dgm:prSet/>
      <dgm:spPr/>
      <dgm:t>
        <a:bodyPr/>
        <a:lstStyle/>
        <a:p>
          <a:endParaRPr lang="es-CO"/>
        </a:p>
      </dgm:t>
    </dgm:pt>
    <dgm:pt modelId="{9D8672C9-AB77-4C15-8F24-799819366660}" type="sibTrans" cxnId="{14390D2D-C37D-4730-8287-52CB15B0139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74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384A2F9-C807-4BB8-82AF-75E69FBCC5FC}" srcId="{62D32E80-FEA0-48C5-B4F3-D3A7B382CF4D}" destId="{02ED528F-C8FC-4C72-B475-E77AD1624D6B}" srcOrd="0" destOrd="0" parTransId="{477D31CA-671E-4484-84A9-9A29043914BD}" sibTransId="{A870ACC1-BDAE-4C2E-AA26-C4D8187D13B2}"/>
    <dgm:cxn modelId="{14390D2D-C37D-4730-8287-52CB15B01394}" srcId="{62D32E80-FEA0-48C5-B4F3-D3A7B382CF4D}" destId="{CF3051E6-8141-437E-86E2-BC341DF152BC}" srcOrd="2" destOrd="0" parTransId="{E1298513-AAF5-4D79-93B1-5EE431F75D4A}" sibTransId="{9D8672C9-AB77-4C15-8F24-799819366660}"/>
    <dgm:cxn modelId="{CB1CF9A3-81BA-4619-B786-F57CCFADCF00}" type="presOf" srcId="{3256AD19-79D9-4DD2-BD85-48D74080CB17}" destId="{FFC2669E-6EFE-4306-9BF4-0E6FE39D4B43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9CEBD6B6-D308-4661-9A1C-93DCF8FBC80F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08A19850-7CC6-4149-9150-9349E080E7E2}" type="presOf" srcId="{BC6DDC18-52FD-4139-B846-B2F5EA8F3754}" destId="{AB09D624-FF1B-4987-8110-30D214096F41}" srcOrd="0" destOrd="2" presId="urn:microsoft.com/office/officeart/2005/8/layout/hList1"/>
    <dgm:cxn modelId="{F189665E-C2A7-48C4-9074-B9F5A723B00A}" type="presOf" srcId="{62D32E80-FEA0-48C5-B4F3-D3A7B382CF4D}" destId="{AB09D624-FF1B-4987-8110-30D214096F41}" srcOrd="0" destOrd="0" presId="urn:microsoft.com/office/officeart/2005/8/layout/hList1"/>
    <dgm:cxn modelId="{7A75CCCA-9625-423A-8012-B82BB4B98FE9}" type="presOf" srcId="{02ED528F-C8FC-4C72-B475-E77AD1624D6B}" destId="{AB09D624-FF1B-4987-8110-30D214096F41}" srcOrd="0" destOrd="1" presId="urn:microsoft.com/office/officeart/2005/8/layout/hList1"/>
    <dgm:cxn modelId="{9A360893-531F-4C1A-B7BD-E1C24C2C81FB}" srcId="{62D32E80-FEA0-48C5-B4F3-D3A7B382CF4D}" destId="{BC6DDC18-52FD-4139-B846-B2F5EA8F3754}" srcOrd="1" destOrd="0" parTransId="{A836D32C-9B48-4A41-8340-49FB64FD617E}" sibTransId="{19DF0F8A-BFCA-4CD6-9EB5-55376759998E}"/>
    <dgm:cxn modelId="{2CB381D6-4D86-4DD5-8289-0F3EFA8AB756}" type="presOf" srcId="{29AA6377-67FE-437F-9254-7182DEE16AB2}" destId="{AB09D624-FF1B-4987-8110-30D214096F41}" srcOrd="0" destOrd="4" presId="urn:microsoft.com/office/officeart/2005/8/layout/hList1"/>
    <dgm:cxn modelId="{9E02DB80-5351-4B9A-B0DB-360D7084D85B}" type="presOf" srcId="{CF3051E6-8141-437E-86E2-BC341DF152BC}" destId="{AB09D624-FF1B-4987-8110-30D214096F41}" srcOrd="0" destOrd="3" presId="urn:microsoft.com/office/officeart/2005/8/layout/hList1"/>
    <dgm:cxn modelId="{441F32F4-F6A8-4EC2-A3C0-0C84C4621649}" srcId="{3256AD19-79D9-4DD2-BD85-48D74080CB17}" destId="{29AA6377-67FE-437F-9254-7182DEE16AB2}" srcOrd="1" destOrd="0" parTransId="{A1D60601-4CA1-4D41-BED9-852111B3F366}" sibTransId="{3F255E9A-A224-4A1B-A4EC-9BF979E02038}"/>
    <dgm:cxn modelId="{8ACBB415-D1AE-4AC6-9DED-52DEA869143A}" type="presParOf" srcId="{351DADD5-826D-416B-84E5-26678C386891}" destId="{78A07495-0AF3-45E3-8386-C0DF5FF5E438}" srcOrd="0" destOrd="0" presId="urn:microsoft.com/office/officeart/2005/8/layout/hList1"/>
    <dgm:cxn modelId="{D74572D3-8268-4B29-BB06-04F2F7C7D681}" type="presParOf" srcId="{78A07495-0AF3-45E3-8386-C0DF5FF5E438}" destId="{FFC2669E-6EFE-4306-9BF4-0E6FE39D4B43}" srcOrd="0" destOrd="0" presId="urn:microsoft.com/office/officeart/2005/8/layout/hList1"/>
    <dgm:cxn modelId="{03830552-53F7-4417-AA9F-B72CA11F552E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600" dirty="0" smtClean="0"/>
            <a:t>Trazado y diseño geométrico</a:t>
          </a:r>
          <a:endParaRPr lang="es-CO" sz="16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EB88132-4E5E-4D6C-A41B-999D55B54632}">
      <dgm:prSet phldrT="[Texto]" custT="1"/>
      <dgm:spPr/>
      <dgm:t>
        <a:bodyPr/>
        <a:lstStyle/>
        <a:p>
          <a:r>
            <a:rPr lang="es-CO" sz="1600" dirty="0" smtClean="0"/>
            <a:t>Planes del proyecto</a:t>
          </a:r>
          <a:endParaRPr lang="es-CO" sz="1600" dirty="0"/>
        </a:p>
      </dgm:t>
    </dgm:pt>
    <dgm:pt modelId="{7B241BE9-D8A3-4732-81C6-225DA013643A}" type="parTrans" cxnId="{7CD74633-0866-4CBA-8167-D27A65DDA5ED}">
      <dgm:prSet/>
      <dgm:spPr/>
      <dgm:t>
        <a:bodyPr/>
        <a:lstStyle/>
        <a:p>
          <a:endParaRPr lang="es-CO"/>
        </a:p>
      </dgm:t>
    </dgm:pt>
    <dgm:pt modelId="{8190616F-4299-4BF8-8C1E-CD3127F3CFB7}" type="sibTrans" cxnId="{7CD74633-0866-4CBA-8167-D27A65DDA5ED}">
      <dgm:prSet/>
      <dgm:spPr/>
      <dgm:t>
        <a:bodyPr/>
        <a:lstStyle/>
        <a:p>
          <a:endParaRPr lang="es-CO"/>
        </a:p>
      </dgm:t>
    </dgm:pt>
    <dgm:pt modelId="{35D1B61F-19BB-4D48-8472-1B87FDD48D4C}">
      <dgm:prSet phldrT="[Texto]" custT="1"/>
      <dgm:spPr/>
      <dgm:t>
        <a:bodyPr/>
        <a:lstStyle/>
        <a:p>
          <a:r>
            <a:rPr lang="es-CO" sz="1600" dirty="0" smtClean="0"/>
            <a:t>Inicio etapa de construcción unidad funcional   7  jun/2016</a:t>
          </a:r>
          <a:endParaRPr lang="es-CO" sz="1600" dirty="0"/>
        </a:p>
      </dgm:t>
    </dgm:pt>
    <dgm:pt modelId="{639ABD17-D628-43C9-9831-D63C055FB742}" type="parTrans" cxnId="{D4CAB71F-A935-4EAE-BB90-440226DD3B08}">
      <dgm:prSet/>
      <dgm:spPr/>
      <dgm:t>
        <a:bodyPr/>
        <a:lstStyle/>
        <a:p>
          <a:endParaRPr lang="es-CO"/>
        </a:p>
      </dgm:t>
    </dgm:pt>
    <dgm:pt modelId="{8531D087-77DB-4F04-98CC-BDEAD9DA9BF8}" type="sibTrans" cxnId="{D4CAB71F-A935-4EAE-BB90-440226DD3B08}">
      <dgm:prSet/>
      <dgm:spPr/>
      <dgm:t>
        <a:bodyPr/>
        <a:lstStyle/>
        <a:p>
          <a:endParaRPr lang="es-CO"/>
        </a:p>
      </dgm:t>
    </dgm:pt>
    <dgm:pt modelId="{026FFB38-B031-493E-9D4E-80BF9166A72C}">
      <dgm:prSet phldrT="[Texto]" custT="1"/>
      <dgm:spPr/>
      <dgm:t>
        <a:bodyPr/>
        <a:lstStyle/>
        <a:p>
          <a:r>
            <a:rPr lang="es-CO" sz="1600" dirty="0" smtClean="0"/>
            <a:t>Convenio POLCA</a:t>
          </a:r>
          <a:endParaRPr lang="es-CO" sz="1600" dirty="0"/>
        </a:p>
      </dgm:t>
    </dgm:pt>
    <dgm:pt modelId="{55326161-F198-469C-ACD2-7F967E55E8D8}" type="parTrans" cxnId="{9ED68DB5-D32D-45B7-935A-3B7946A598AA}">
      <dgm:prSet/>
      <dgm:spPr/>
      <dgm:t>
        <a:bodyPr/>
        <a:lstStyle/>
        <a:p>
          <a:endParaRPr lang="es-CO"/>
        </a:p>
      </dgm:t>
    </dgm:pt>
    <dgm:pt modelId="{80654877-C64A-4760-8FD9-484B64DD43F6}" type="sibTrans" cxnId="{9ED68DB5-D32D-45B7-935A-3B7946A598AA}">
      <dgm:prSet/>
      <dgm:spPr/>
      <dgm:t>
        <a:bodyPr/>
        <a:lstStyle/>
        <a:p>
          <a:endParaRPr lang="es-CO"/>
        </a:p>
      </dgm:t>
    </dgm:pt>
    <dgm:pt modelId="{88FA47AA-2FEC-47D0-BE0E-BCF5146599BB}">
      <dgm:prSet phldrT="[Texto]" custT="1"/>
      <dgm:spPr/>
      <dgm:t>
        <a:bodyPr/>
        <a:lstStyle/>
        <a:p>
          <a:r>
            <a:rPr lang="es-CO" sz="1600" dirty="0" smtClean="0"/>
            <a:t>Inicio unidad funcional  7</a:t>
          </a:r>
          <a:endParaRPr lang="es-CO" sz="1600" dirty="0"/>
        </a:p>
      </dgm:t>
    </dgm:pt>
    <dgm:pt modelId="{E60DC644-0DE9-415C-A836-EFE6F02207B7}" type="parTrans" cxnId="{63DAD61A-5059-40E1-A259-559AE92D4B7A}">
      <dgm:prSet/>
      <dgm:spPr/>
      <dgm:t>
        <a:bodyPr/>
        <a:lstStyle/>
        <a:p>
          <a:endParaRPr lang="es-CO"/>
        </a:p>
      </dgm:t>
    </dgm:pt>
    <dgm:pt modelId="{6F9A6E68-E63D-4ECD-8F12-7AA7450BE7BC}" type="sibTrans" cxnId="{63DAD61A-5059-40E1-A259-559AE92D4B7A}">
      <dgm:prSet/>
      <dgm:spPr/>
      <dgm:t>
        <a:bodyPr/>
        <a:lstStyle/>
        <a:p>
          <a:endParaRPr lang="es-CO"/>
        </a:p>
      </dgm:t>
    </dgm:pt>
    <dgm:pt modelId="{D23FB679-FB35-40E1-95C4-5A8CAEED79A2}">
      <dgm:prSet phldrT="[Texto]" custT="1"/>
      <dgm:spPr/>
      <dgm:t>
        <a:bodyPr/>
        <a:lstStyle/>
        <a:p>
          <a:r>
            <a:rPr lang="es-CO" sz="1600" dirty="0" smtClean="0"/>
            <a:t>Tramites ambientales</a:t>
          </a:r>
          <a:endParaRPr lang="es-CO" sz="1600" dirty="0"/>
        </a:p>
      </dgm:t>
    </dgm:pt>
    <dgm:pt modelId="{34F7ABC2-C3C0-4CCC-8932-E3669E54DC01}" type="parTrans" cxnId="{F5223DFB-A2BE-447F-BD5F-9ABCCD588193}">
      <dgm:prSet/>
      <dgm:spPr/>
      <dgm:t>
        <a:bodyPr/>
        <a:lstStyle/>
        <a:p>
          <a:endParaRPr lang="es-CO"/>
        </a:p>
      </dgm:t>
    </dgm:pt>
    <dgm:pt modelId="{16892448-A840-4FF6-B85A-07F4155EE37C}" type="sibTrans" cxnId="{F5223DFB-A2BE-447F-BD5F-9ABCCD588193}">
      <dgm:prSet/>
      <dgm:spPr/>
      <dgm:t>
        <a:bodyPr/>
        <a:lstStyle/>
        <a:p>
          <a:endParaRPr lang="es-CO"/>
        </a:p>
      </dgm:t>
    </dgm:pt>
    <dgm:pt modelId="{FAB6679C-97C4-4D3A-8D19-43A4B8FA9571}">
      <dgm:prSet phldrT="[Texto]" custT="1"/>
      <dgm:spPr/>
      <dgm:t>
        <a:bodyPr/>
        <a:lstStyle/>
        <a:p>
          <a:r>
            <a:rPr lang="es-CO" sz="1600" dirty="0" smtClean="0"/>
            <a:t>Cierre financiero</a:t>
          </a:r>
          <a:endParaRPr lang="es-CO" sz="1600" dirty="0"/>
        </a:p>
      </dgm:t>
    </dgm:pt>
    <dgm:pt modelId="{A2E1490D-E20A-4187-B50A-6F5182E0D424}" type="parTrans" cxnId="{402D0110-67A7-4D79-A972-9B398677DFC1}">
      <dgm:prSet/>
      <dgm:spPr/>
      <dgm:t>
        <a:bodyPr/>
        <a:lstStyle/>
        <a:p>
          <a:endParaRPr lang="es-CO"/>
        </a:p>
      </dgm:t>
    </dgm:pt>
    <dgm:pt modelId="{A9D940FB-7B41-4282-AAF5-E9EF4984F23C}" type="sibTrans" cxnId="{402D0110-67A7-4D79-A972-9B398677DFC1}">
      <dgm:prSet/>
      <dgm:spPr/>
      <dgm:t>
        <a:bodyPr/>
        <a:lstStyle/>
        <a:p>
          <a:endParaRPr lang="es-CO"/>
        </a:p>
      </dgm:t>
    </dgm:pt>
    <dgm:pt modelId="{6E821D6A-AF77-4CAA-905F-3AAE2814E767}">
      <dgm:prSet phldrT="[Texto]" custT="1"/>
      <dgm:spPr/>
      <dgm:t>
        <a:bodyPr/>
        <a:lstStyle/>
        <a:p>
          <a:r>
            <a:rPr lang="es-CO" sz="1600" dirty="0" smtClean="0"/>
            <a:t>Estudios y diseños  UF-7</a:t>
          </a:r>
          <a:endParaRPr lang="es-CO" sz="1600" dirty="0"/>
        </a:p>
      </dgm:t>
    </dgm:pt>
    <dgm:pt modelId="{9C7CC579-A3CF-44FF-9E0F-124E53DF5444}" type="parTrans" cxnId="{A3D55323-1B6D-4E4B-B3CB-DC9C60FCE91F}">
      <dgm:prSet/>
      <dgm:spPr/>
      <dgm:t>
        <a:bodyPr/>
        <a:lstStyle/>
        <a:p>
          <a:endParaRPr lang="es-CO"/>
        </a:p>
      </dgm:t>
    </dgm:pt>
    <dgm:pt modelId="{CAF996DB-F876-4EA3-BDFE-8C18BCA75127}" type="sibTrans" cxnId="{A3D55323-1B6D-4E4B-B3CB-DC9C60FCE91F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5003" custLinFactNeighborY="5635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9CFF752-F20E-452F-A31D-81520C3FE71A}" type="presOf" srcId="{35D1B61F-19BB-4D48-8472-1B87FDD48D4C}" destId="{AB09D624-FF1B-4987-8110-30D214096F41}" srcOrd="0" destOrd="7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92BD2B1F-E69D-44A1-8FCF-ED462615BCED}" type="presOf" srcId="{6E821D6A-AF77-4CAA-905F-3AAE2814E767}" destId="{AB09D624-FF1B-4987-8110-30D214096F41}" srcOrd="0" destOrd="1" presId="urn:microsoft.com/office/officeart/2005/8/layout/hList1"/>
    <dgm:cxn modelId="{9ED68DB5-D32D-45B7-935A-3B7946A598AA}" srcId="{3256AD19-79D9-4DD2-BD85-48D74080CB17}" destId="{026FFB38-B031-493E-9D4E-80BF9166A72C}" srcOrd="4" destOrd="0" parTransId="{55326161-F198-469C-ACD2-7F967E55E8D8}" sibTransId="{80654877-C64A-4760-8FD9-484B64DD43F6}"/>
    <dgm:cxn modelId="{1BF279E5-A828-4D58-8679-65CA2E159539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DC11CE0F-8BAC-430D-8A96-7B5D23B71F91}" type="presOf" srcId="{D23FB679-FB35-40E1-95C4-5A8CAEED79A2}" destId="{AB09D624-FF1B-4987-8110-30D214096F41}" srcOrd="0" destOrd="3" presId="urn:microsoft.com/office/officeart/2005/8/layout/hList1"/>
    <dgm:cxn modelId="{A3D55323-1B6D-4E4B-B3CB-DC9C60FCE91F}" srcId="{3256AD19-79D9-4DD2-BD85-48D74080CB17}" destId="{6E821D6A-AF77-4CAA-905F-3AAE2814E767}" srcOrd="1" destOrd="0" parTransId="{9C7CC579-A3CF-44FF-9E0F-124E53DF5444}" sibTransId="{CAF996DB-F876-4EA3-BDFE-8C18BCA75127}"/>
    <dgm:cxn modelId="{81372E16-AE59-40D7-B6F2-31FA64DBD669}" type="presOf" srcId="{3256AD19-79D9-4DD2-BD85-48D74080CB17}" destId="{FFC2669E-6EFE-4306-9BF4-0E6FE39D4B43}" srcOrd="0" destOrd="0" presId="urn:microsoft.com/office/officeart/2005/8/layout/hList1"/>
    <dgm:cxn modelId="{63DAD61A-5059-40E1-A259-559AE92D4B7A}" srcId="{3256AD19-79D9-4DD2-BD85-48D74080CB17}" destId="{88FA47AA-2FEC-47D0-BE0E-BCF5146599BB}" srcOrd="5" destOrd="0" parTransId="{E60DC644-0DE9-415C-A836-EFE6F02207B7}" sibTransId="{6F9A6E68-E63D-4ECD-8F12-7AA7450BE7BC}"/>
    <dgm:cxn modelId="{D4CAB71F-A935-4EAE-BB90-440226DD3B08}" srcId="{3256AD19-79D9-4DD2-BD85-48D74080CB17}" destId="{35D1B61F-19BB-4D48-8472-1B87FDD48D4C}" srcOrd="7" destOrd="0" parTransId="{639ABD17-D628-43C9-9831-D63C055FB742}" sibTransId="{8531D087-77DB-4F04-98CC-BDEAD9DA9BF8}"/>
    <dgm:cxn modelId="{3DEA4896-704C-49BE-9813-155DA092E3F0}" type="presOf" srcId="{88FA47AA-2FEC-47D0-BE0E-BCF5146599BB}" destId="{AB09D624-FF1B-4987-8110-30D214096F41}" srcOrd="0" destOrd="5" presId="urn:microsoft.com/office/officeart/2005/8/layout/hList1"/>
    <dgm:cxn modelId="{F5223DFB-A2BE-447F-BD5F-9ABCCD588193}" srcId="{3256AD19-79D9-4DD2-BD85-48D74080CB17}" destId="{D23FB679-FB35-40E1-95C4-5A8CAEED79A2}" srcOrd="3" destOrd="0" parTransId="{34F7ABC2-C3C0-4CCC-8932-E3669E54DC01}" sibTransId="{16892448-A840-4FF6-B85A-07F4155EE37C}"/>
    <dgm:cxn modelId="{51D2F6C4-88A0-4228-9C1A-275B9A4CCB27}" type="presOf" srcId="{026FFB38-B031-493E-9D4E-80BF9166A72C}" destId="{AB09D624-FF1B-4987-8110-30D214096F41}" srcOrd="0" destOrd="4" presId="urn:microsoft.com/office/officeart/2005/8/layout/hList1"/>
    <dgm:cxn modelId="{402D0110-67A7-4D79-A972-9B398677DFC1}" srcId="{3256AD19-79D9-4DD2-BD85-48D74080CB17}" destId="{FAB6679C-97C4-4D3A-8D19-43A4B8FA9571}" srcOrd="6" destOrd="0" parTransId="{A2E1490D-E20A-4187-B50A-6F5182E0D424}" sibTransId="{A9D940FB-7B41-4282-AAF5-E9EF4984F23C}"/>
    <dgm:cxn modelId="{34FF3A61-DFBC-4FE7-8709-607DC1A006E5}" type="presOf" srcId="{FAB6679C-97C4-4D3A-8D19-43A4B8FA9571}" destId="{AB09D624-FF1B-4987-8110-30D214096F41}" srcOrd="0" destOrd="6" presId="urn:microsoft.com/office/officeart/2005/8/layout/hList1"/>
    <dgm:cxn modelId="{C39469DA-831D-482A-A4C2-A3FC8BB710C0}" type="presOf" srcId="{3EB88132-4E5E-4D6C-A41B-999D55B54632}" destId="{AB09D624-FF1B-4987-8110-30D214096F41}" srcOrd="0" destOrd="2" presId="urn:microsoft.com/office/officeart/2005/8/layout/hList1"/>
    <dgm:cxn modelId="{4C38DA52-8458-4867-BCE1-B3BB2E6A8B1D}" type="presOf" srcId="{CF84DDC2-96BF-432F-AA37-B7281110F630}" destId="{351DADD5-826D-416B-84E5-26678C386891}" srcOrd="0" destOrd="0" presId="urn:microsoft.com/office/officeart/2005/8/layout/hList1"/>
    <dgm:cxn modelId="{7CD74633-0866-4CBA-8167-D27A65DDA5ED}" srcId="{3256AD19-79D9-4DD2-BD85-48D74080CB17}" destId="{3EB88132-4E5E-4D6C-A41B-999D55B54632}" srcOrd="2" destOrd="0" parTransId="{7B241BE9-D8A3-4732-81C6-225DA013643A}" sibTransId="{8190616F-4299-4BF8-8C1E-CD3127F3CFB7}"/>
    <dgm:cxn modelId="{D5E12B07-890F-4832-A87D-D780A506839D}" type="presParOf" srcId="{351DADD5-826D-416B-84E5-26678C386891}" destId="{78A07495-0AF3-45E3-8386-C0DF5FF5E438}" srcOrd="0" destOrd="0" presId="urn:microsoft.com/office/officeart/2005/8/layout/hList1"/>
    <dgm:cxn modelId="{16294A8A-1B10-4BE4-9FE4-FF8C7BF3EEC7}" type="presParOf" srcId="{78A07495-0AF3-45E3-8386-C0DF5FF5E438}" destId="{FFC2669E-6EFE-4306-9BF4-0E6FE39D4B43}" srcOrd="0" destOrd="0" presId="urn:microsoft.com/office/officeart/2005/8/layout/hList1"/>
    <dgm:cxn modelId="{125B07B6-E82F-4AFF-A455-4D2EE5DC04E2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600" dirty="0" smtClean="0"/>
            <a:t>Avances</a:t>
          </a:r>
          <a:endParaRPr lang="es-CO" sz="16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 sz="1600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 sz="1600"/>
        </a:p>
      </dgm:t>
    </dgm:pt>
    <dgm:pt modelId="{62D32E80-FEA0-48C5-B4F3-D3A7B382CF4D}">
      <dgm:prSet phldrT="[Texto]" custT="1"/>
      <dgm:spPr/>
      <dgm:t>
        <a:bodyPr/>
        <a:lstStyle/>
        <a:p>
          <a:endParaRPr lang="es-CO" sz="13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 sz="1600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 sz="1600"/>
        </a:p>
      </dgm:t>
    </dgm:pt>
    <dgm:pt modelId="{516D0D1D-BF86-422B-8004-A65DA24EC311}">
      <dgm:prSet custT="1"/>
      <dgm:spPr/>
      <dgm:t>
        <a:bodyPr/>
        <a:lstStyle/>
        <a:p>
          <a:r>
            <a:rPr lang="es-CO" sz="1300" dirty="0" smtClean="0"/>
            <a:t>Tramites ambientales dic/2015</a:t>
          </a:r>
          <a:endParaRPr lang="es-CO" sz="1300" dirty="0"/>
        </a:p>
      </dgm:t>
    </dgm:pt>
    <dgm:pt modelId="{5E5C9376-BB95-4E04-9D87-E1959A0D7D56}" type="parTrans" cxnId="{C33772B4-EC5F-4CB1-BF3C-0726F6BC16C1}">
      <dgm:prSet/>
      <dgm:spPr/>
      <dgm:t>
        <a:bodyPr/>
        <a:lstStyle/>
        <a:p>
          <a:endParaRPr lang="es-CO" sz="1600"/>
        </a:p>
      </dgm:t>
    </dgm:pt>
    <dgm:pt modelId="{59970D69-10FD-4211-957D-0D1CD593C85F}" type="sibTrans" cxnId="{C33772B4-EC5F-4CB1-BF3C-0726F6BC16C1}">
      <dgm:prSet/>
      <dgm:spPr/>
      <dgm:t>
        <a:bodyPr/>
        <a:lstStyle/>
        <a:p>
          <a:endParaRPr lang="es-CO" sz="1600"/>
        </a:p>
      </dgm:t>
    </dgm:pt>
    <dgm:pt modelId="{C3CCD8E3-5450-4D34-9106-F8E89AD9DCCC}">
      <dgm:prSet custT="1"/>
      <dgm:spPr/>
      <dgm:t>
        <a:bodyPr/>
        <a:lstStyle/>
        <a:p>
          <a:r>
            <a:rPr lang="es-CO" sz="1300" dirty="0" smtClean="0"/>
            <a:t>Convenio POLCA ene/2016</a:t>
          </a:r>
          <a:endParaRPr lang="es-CO" sz="1300" dirty="0"/>
        </a:p>
      </dgm:t>
    </dgm:pt>
    <dgm:pt modelId="{442053A0-A4A6-4027-8916-7702AF5978DC}" type="parTrans" cxnId="{39F3A419-6601-4292-A788-9B73180F16B9}">
      <dgm:prSet/>
      <dgm:spPr/>
      <dgm:t>
        <a:bodyPr/>
        <a:lstStyle/>
        <a:p>
          <a:endParaRPr lang="es-CO" sz="1600"/>
        </a:p>
      </dgm:t>
    </dgm:pt>
    <dgm:pt modelId="{254728D2-1C8B-44D8-9A7A-1CD7BCD7E7B0}" type="sibTrans" cxnId="{39F3A419-6601-4292-A788-9B73180F16B9}">
      <dgm:prSet/>
      <dgm:spPr/>
      <dgm:t>
        <a:bodyPr/>
        <a:lstStyle/>
        <a:p>
          <a:endParaRPr lang="es-CO" sz="1600"/>
        </a:p>
      </dgm:t>
    </dgm:pt>
    <dgm:pt modelId="{C2E12977-AE0D-4BB5-A782-57ACFD09058E}">
      <dgm:prSet custT="1"/>
      <dgm:spPr/>
      <dgm:t>
        <a:bodyPr/>
        <a:lstStyle/>
        <a:p>
          <a:r>
            <a:rPr lang="es-CO" sz="1300" dirty="0" smtClean="0"/>
            <a:t>Cierre financiero, pendiente prorroga</a:t>
          </a:r>
          <a:endParaRPr lang="es-CO" sz="1300" dirty="0"/>
        </a:p>
      </dgm:t>
    </dgm:pt>
    <dgm:pt modelId="{5F120C6F-2B98-4030-A2F1-AE0EA2B320B7}" type="parTrans" cxnId="{A68E8DC4-4525-4165-A1DF-F5CDA447CFEC}">
      <dgm:prSet/>
      <dgm:spPr/>
      <dgm:t>
        <a:bodyPr/>
        <a:lstStyle/>
        <a:p>
          <a:endParaRPr lang="es-CO" sz="1600"/>
        </a:p>
      </dgm:t>
    </dgm:pt>
    <dgm:pt modelId="{6A873DBD-AC5D-426D-9C45-147ABA04F799}" type="sibTrans" cxnId="{A68E8DC4-4525-4165-A1DF-F5CDA447CFEC}">
      <dgm:prSet/>
      <dgm:spPr/>
      <dgm:t>
        <a:bodyPr/>
        <a:lstStyle/>
        <a:p>
          <a:endParaRPr lang="es-CO" sz="1600"/>
        </a:p>
      </dgm:t>
    </dgm:pt>
    <dgm:pt modelId="{E7C0C2A9-B259-4B46-8DD4-C63DE9A7DB62}">
      <dgm:prSet custT="1"/>
      <dgm:spPr/>
      <dgm:t>
        <a:bodyPr/>
        <a:lstStyle/>
        <a:p>
          <a:r>
            <a:rPr lang="es-CO" sz="1300" dirty="0" err="1" smtClean="0"/>
            <a:t>Aprob</a:t>
          </a:r>
          <a:r>
            <a:rPr lang="es-CO" sz="1300" dirty="0" smtClean="0"/>
            <a:t>. Planes del proyecto abril/2016</a:t>
          </a:r>
          <a:endParaRPr lang="es-CO" sz="1300" dirty="0"/>
        </a:p>
      </dgm:t>
    </dgm:pt>
    <dgm:pt modelId="{88C51C4B-12AE-481B-80A8-A8E2D9304837}" type="parTrans" cxnId="{B04E02B5-7BF3-466B-B3A1-D58AD1F6DBD3}">
      <dgm:prSet/>
      <dgm:spPr/>
      <dgm:t>
        <a:bodyPr/>
        <a:lstStyle/>
        <a:p>
          <a:endParaRPr lang="es-CO"/>
        </a:p>
      </dgm:t>
    </dgm:pt>
    <dgm:pt modelId="{58B8DAA7-230A-4C9C-BA46-6C704F36F8A0}" type="sibTrans" cxnId="{B04E02B5-7BF3-466B-B3A1-D58AD1F6DBD3}">
      <dgm:prSet/>
      <dgm:spPr/>
      <dgm:t>
        <a:bodyPr/>
        <a:lstStyle/>
        <a:p>
          <a:endParaRPr lang="es-CO"/>
        </a:p>
      </dgm:t>
    </dgm:pt>
    <dgm:pt modelId="{A9A96567-DC1C-4F8C-90E2-A26ADBB2EBFE}">
      <dgm:prSet custT="1"/>
      <dgm:spPr/>
      <dgm:t>
        <a:bodyPr/>
        <a:lstStyle/>
        <a:p>
          <a:r>
            <a:rPr lang="es-CO" sz="1300" dirty="0" smtClean="0"/>
            <a:t>Inicio etapa construcción unidad funcional  7,  pendiente prorroga</a:t>
          </a:r>
          <a:endParaRPr lang="es-CO" sz="1300" dirty="0"/>
        </a:p>
      </dgm:t>
    </dgm:pt>
    <dgm:pt modelId="{6D802B02-7B03-43B8-A928-A439772AF86D}" type="parTrans" cxnId="{2CE7E06A-3474-4A23-AECF-685BA98758D5}">
      <dgm:prSet/>
      <dgm:spPr/>
      <dgm:t>
        <a:bodyPr/>
        <a:lstStyle/>
        <a:p>
          <a:endParaRPr lang="es-CO"/>
        </a:p>
      </dgm:t>
    </dgm:pt>
    <dgm:pt modelId="{51A7283E-FF53-4F93-A088-3EE5982E1EFE}" type="sibTrans" cxnId="{2CE7E06A-3474-4A23-AECF-685BA98758D5}">
      <dgm:prSet/>
      <dgm:spPr/>
      <dgm:t>
        <a:bodyPr/>
        <a:lstStyle/>
        <a:p>
          <a:endParaRPr lang="es-CO"/>
        </a:p>
      </dgm:t>
    </dgm:pt>
    <dgm:pt modelId="{12FC08C2-12DF-4B10-8BB0-4E5A31E1ED51}">
      <dgm:prSet custT="1"/>
      <dgm:spPr/>
      <dgm:t>
        <a:bodyPr/>
        <a:lstStyle/>
        <a:p>
          <a:r>
            <a:rPr lang="es-CO" sz="1300" dirty="0" smtClean="0"/>
            <a:t>Aprobación trazado y diseño geométrico jun/2016</a:t>
          </a:r>
          <a:endParaRPr lang="es-CO" sz="1300" dirty="0"/>
        </a:p>
      </dgm:t>
    </dgm:pt>
    <dgm:pt modelId="{2C4E3955-B2C6-4C11-A199-604C2D05BFDD}" type="parTrans" cxnId="{8269801C-0A9E-45BE-B721-EF9CD0D8ADE9}">
      <dgm:prSet/>
      <dgm:spPr/>
      <dgm:t>
        <a:bodyPr/>
        <a:lstStyle/>
        <a:p>
          <a:endParaRPr lang="es-CO"/>
        </a:p>
      </dgm:t>
    </dgm:pt>
    <dgm:pt modelId="{FCF43FB5-9259-4297-BA00-2FD163F08BB0}" type="sibTrans" cxnId="{8269801C-0A9E-45BE-B721-EF9CD0D8ADE9}">
      <dgm:prSet/>
      <dgm:spPr/>
      <dgm:t>
        <a:bodyPr/>
        <a:lstStyle/>
        <a:p>
          <a:endParaRPr lang="es-CO"/>
        </a:p>
      </dgm:t>
    </dgm:pt>
    <dgm:pt modelId="{6011D2AD-DB82-4D8D-8D91-4ED7295BF84F}">
      <dgm:prSet custT="1"/>
      <dgm:spPr/>
      <dgm:t>
        <a:bodyPr/>
        <a:lstStyle/>
        <a:p>
          <a:r>
            <a:rPr lang="es-CO" sz="1300" dirty="0" err="1" smtClean="0"/>
            <a:t>Aprob</a:t>
          </a:r>
          <a:r>
            <a:rPr lang="es-CO" sz="1300" dirty="0" smtClean="0"/>
            <a:t>. estudios y diseños  UF-7 jun /2016</a:t>
          </a:r>
          <a:endParaRPr lang="es-CO" sz="1300" dirty="0"/>
        </a:p>
      </dgm:t>
    </dgm:pt>
    <dgm:pt modelId="{1A13AE74-59BD-4D63-9A29-29A55C87E130}" type="parTrans" cxnId="{FA193160-A2CC-44DC-9FE1-8453802D33C5}">
      <dgm:prSet/>
      <dgm:spPr/>
      <dgm:t>
        <a:bodyPr/>
        <a:lstStyle/>
        <a:p>
          <a:endParaRPr lang="es-CO"/>
        </a:p>
      </dgm:t>
    </dgm:pt>
    <dgm:pt modelId="{9D468E74-4FDA-48BA-90DB-41E2944805FD}" type="sibTrans" cxnId="{FA193160-A2CC-44DC-9FE1-8453802D33C5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7601" custLinFactNeighborY="-764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894" custLinFactNeighborY="7226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8D79230-F3E4-428B-AAAE-131ED61AE90D}" type="presOf" srcId="{A9A96567-DC1C-4F8C-90E2-A26ADBB2EBFE}" destId="{AB09D624-FF1B-4987-8110-30D214096F41}" srcOrd="0" destOrd="7" presId="urn:microsoft.com/office/officeart/2005/8/layout/hList1"/>
    <dgm:cxn modelId="{8A83E63A-6D68-4A37-92F5-2F7D55779921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8269801C-0A9E-45BE-B721-EF9CD0D8ADE9}" srcId="{3256AD19-79D9-4DD2-BD85-48D74080CB17}" destId="{12FC08C2-12DF-4B10-8BB0-4E5A31E1ED51}" srcOrd="4" destOrd="0" parTransId="{2C4E3955-B2C6-4C11-A199-604C2D05BFDD}" sibTransId="{FCF43FB5-9259-4297-BA00-2FD163F08BB0}"/>
    <dgm:cxn modelId="{82AA9340-993A-40DF-9B77-3AA895A919CC}" type="presOf" srcId="{CF84DDC2-96BF-432F-AA37-B7281110F630}" destId="{351DADD5-826D-416B-84E5-26678C386891}" srcOrd="0" destOrd="0" presId="urn:microsoft.com/office/officeart/2005/8/layout/hList1"/>
    <dgm:cxn modelId="{A68E8DC4-4525-4165-A1DF-F5CDA447CFEC}" srcId="{3256AD19-79D9-4DD2-BD85-48D74080CB17}" destId="{C2E12977-AE0D-4BB5-A782-57ACFD09058E}" srcOrd="6" destOrd="0" parTransId="{5F120C6F-2B98-4030-A2F1-AE0EA2B320B7}" sibTransId="{6A873DBD-AC5D-426D-9C45-147ABA04F799}"/>
    <dgm:cxn modelId="{AE5F302F-1A5C-4A17-BA8B-4655FB4D5FD9}" type="presOf" srcId="{12FC08C2-12DF-4B10-8BB0-4E5A31E1ED51}" destId="{AB09D624-FF1B-4987-8110-30D214096F41}" srcOrd="0" destOrd="4" presId="urn:microsoft.com/office/officeart/2005/8/layout/hList1"/>
    <dgm:cxn modelId="{2CE7E06A-3474-4A23-AECF-685BA98758D5}" srcId="{3256AD19-79D9-4DD2-BD85-48D74080CB17}" destId="{A9A96567-DC1C-4F8C-90E2-A26ADBB2EBFE}" srcOrd="7" destOrd="0" parTransId="{6D802B02-7B03-43B8-A928-A439772AF86D}" sibTransId="{51A7283E-FF53-4F93-A088-3EE5982E1EFE}"/>
    <dgm:cxn modelId="{DDCD9030-07C8-4737-A218-DEF9376C4DDC}" type="presOf" srcId="{6011D2AD-DB82-4D8D-8D91-4ED7295BF84F}" destId="{AB09D624-FF1B-4987-8110-30D214096F41}" srcOrd="0" destOrd="5" presId="urn:microsoft.com/office/officeart/2005/8/layout/hList1"/>
    <dgm:cxn modelId="{CE5836AD-39A3-44F7-8E79-CC95068C5C1E}" type="presOf" srcId="{C2E12977-AE0D-4BB5-A782-57ACFD09058E}" destId="{AB09D624-FF1B-4987-8110-30D214096F41}" srcOrd="0" destOrd="6" presId="urn:microsoft.com/office/officeart/2005/8/layout/hList1"/>
    <dgm:cxn modelId="{428CF5B7-EC7F-4463-88AA-79ACC68074E6}" type="presOf" srcId="{516D0D1D-BF86-422B-8004-A65DA24EC311}" destId="{AB09D624-FF1B-4987-8110-30D214096F41}" srcOrd="0" destOrd="1" presId="urn:microsoft.com/office/officeart/2005/8/layout/hList1"/>
    <dgm:cxn modelId="{B04E02B5-7BF3-466B-B3A1-D58AD1F6DBD3}" srcId="{3256AD19-79D9-4DD2-BD85-48D74080CB17}" destId="{E7C0C2A9-B259-4B46-8DD4-C63DE9A7DB62}" srcOrd="3" destOrd="0" parTransId="{88C51C4B-12AE-481B-80A8-A8E2D9304837}" sibTransId="{58B8DAA7-230A-4C9C-BA46-6C704F36F8A0}"/>
    <dgm:cxn modelId="{C33772B4-EC5F-4CB1-BF3C-0726F6BC16C1}" srcId="{3256AD19-79D9-4DD2-BD85-48D74080CB17}" destId="{516D0D1D-BF86-422B-8004-A65DA24EC311}" srcOrd="1" destOrd="0" parTransId="{5E5C9376-BB95-4E04-9D87-E1959A0D7D56}" sibTransId="{59970D69-10FD-4211-957D-0D1CD593C85F}"/>
    <dgm:cxn modelId="{8538662C-FA5C-452A-B90F-129DAEDDC1E3}" type="presOf" srcId="{E7C0C2A9-B259-4B46-8DD4-C63DE9A7DB62}" destId="{AB09D624-FF1B-4987-8110-30D214096F41}" srcOrd="0" destOrd="3" presId="urn:microsoft.com/office/officeart/2005/8/layout/hList1"/>
    <dgm:cxn modelId="{FA193160-A2CC-44DC-9FE1-8453802D33C5}" srcId="{3256AD19-79D9-4DD2-BD85-48D74080CB17}" destId="{6011D2AD-DB82-4D8D-8D91-4ED7295BF84F}" srcOrd="5" destOrd="0" parTransId="{1A13AE74-59BD-4D63-9A29-29A55C87E130}" sibTransId="{9D468E74-4FDA-48BA-90DB-41E2944805FD}"/>
    <dgm:cxn modelId="{7DEC0462-E2AF-46E0-ABC3-E25C0ACF1B72}" type="presOf" srcId="{C3CCD8E3-5450-4D34-9106-F8E89AD9DCCC}" destId="{AB09D624-FF1B-4987-8110-30D214096F41}" srcOrd="0" destOrd="2" presId="urn:microsoft.com/office/officeart/2005/8/layout/hList1"/>
    <dgm:cxn modelId="{B9CDC1E0-4FCE-4B89-8E38-E9C5BADF7E86}" type="presOf" srcId="{62D32E80-FEA0-48C5-B4F3-D3A7B382CF4D}" destId="{AB09D624-FF1B-4987-8110-30D214096F41}" srcOrd="0" destOrd="0" presId="urn:microsoft.com/office/officeart/2005/8/layout/hList1"/>
    <dgm:cxn modelId="{39F3A419-6601-4292-A788-9B73180F16B9}" srcId="{3256AD19-79D9-4DD2-BD85-48D74080CB17}" destId="{C3CCD8E3-5450-4D34-9106-F8E89AD9DCCC}" srcOrd="2" destOrd="0" parTransId="{442053A0-A4A6-4027-8916-7702AF5978DC}" sibTransId="{254728D2-1C8B-44D8-9A7A-1CD7BCD7E7B0}"/>
    <dgm:cxn modelId="{31896DA3-EB15-489F-BA9C-EABC3C317875}" type="presParOf" srcId="{351DADD5-826D-416B-84E5-26678C386891}" destId="{78A07495-0AF3-45E3-8386-C0DF5FF5E438}" srcOrd="0" destOrd="0" presId="urn:microsoft.com/office/officeart/2005/8/layout/hList1"/>
    <dgm:cxn modelId="{DE111490-017D-4C90-B762-9E94A9C2C042}" type="presParOf" srcId="{78A07495-0AF3-45E3-8386-C0DF5FF5E438}" destId="{FFC2669E-6EFE-4306-9BF4-0E6FE39D4B43}" srcOrd="0" destOrd="0" presId="urn:microsoft.com/office/officeart/2005/8/layout/hList1"/>
    <dgm:cxn modelId="{10BC58FF-2A9D-47D8-A9DB-97CA3AAB3D24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Realizar plan de adquisición predial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24EA43F4-19CF-4804-9589-2CD482B701FC}">
      <dgm:prSet phldrT="[Texto]"/>
      <dgm:spPr/>
      <dgm:t>
        <a:bodyPr/>
        <a:lstStyle/>
        <a:p>
          <a:r>
            <a:rPr lang="es-CO" dirty="0" smtClean="0"/>
            <a:t> Realizar estudios de trazado y diseño geométrico</a:t>
          </a:r>
          <a:endParaRPr lang="es-CO" dirty="0"/>
        </a:p>
      </dgm:t>
    </dgm:pt>
    <dgm:pt modelId="{60624E13-9E3A-4550-82ED-B5D378EC9153}" type="parTrans" cxnId="{527525DF-5B0E-4BEA-9B8B-A1CD3925A220}">
      <dgm:prSet/>
      <dgm:spPr/>
      <dgm:t>
        <a:bodyPr/>
        <a:lstStyle/>
        <a:p>
          <a:endParaRPr lang="es-CO"/>
        </a:p>
      </dgm:t>
    </dgm:pt>
    <dgm:pt modelId="{669AA02E-0BCE-470B-B8B6-C44EB218761F}" type="sibTrans" cxnId="{527525DF-5B0E-4BEA-9B8B-A1CD3925A220}">
      <dgm:prSet/>
      <dgm:spPr/>
      <dgm:t>
        <a:bodyPr/>
        <a:lstStyle/>
        <a:p>
          <a:endParaRPr lang="es-CO"/>
        </a:p>
      </dgm:t>
    </dgm:pt>
    <dgm:pt modelId="{6941632B-B56C-4B77-B82E-5602B14EEA39}">
      <dgm:prSet phldrT="[Texto]"/>
      <dgm:spPr/>
      <dgm:t>
        <a:bodyPr/>
        <a:lstStyle/>
        <a:p>
          <a:r>
            <a:rPr lang="es-CO" dirty="0" smtClean="0"/>
            <a:t>Realizar Plan de obra</a:t>
          </a:r>
          <a:endParaRPr lang="es-CO" dirty="0"/>
        </a:p>
      </dgm:t>
    </dgm:pt>
    <dgm:pt modelId="{EE75401D-5DB6-4FD3-A73D-6C7F3479CDDF}" type="parTrans" cxnId="{70475765-DA43-4D0B-A82F-AF5E0D8F6943}">
      <dgm:prSet/>
      <dgm:spPr/>
      <dgm:t>
        <a:bodyPr/>
        <a:lstStyle/>
        <a:p>
          <a:endParaRPr lang="es-CO"/>
        </a:p>
      </dgm:t>
    </dgm:pt>
    <dgm:pt modelId="{135595B5-BA75-4844-B113-4502ED5619ED}" type="sibTrans" cxnId="{70475765-DA43-4D0B-A82F-AF5E0D8F6943}">
      <dgm:prSet/>
      <dgm:spPr/>
      <dgm:t>
        <a:bodyPr/>
        <a:lstStyle/>
        <a:p>
          <a:endParaRPr lang="es-CO"/>
        </a:p>
      </dgm:t>
    </dgm:pt>
    <dgm:pt modelId="{D18C0EDF-4411-47B3-92CE-14CE4C777CBD}">
      <dgm:prSet phldrT="[Texto]"/>
      <dgm:spPr/>
      <dgm:t>
        <a:bodyPr/>
        <a:lstStyle/>
        <a:p>
          <a:r>
            <a:rPr lang="es-CO" dirty="0" smtClean="0"/>
            <a:t>Realizar estudios de detalle de las Unidades Funcionales UF1</a:t>
          </a:r>
          <a:endParaRPr lang="es-CO" dirty="0"/>
        </a:p>
      </dgm:t>
    </dgm:pt>
    <dgm:pt modelId="{46C5589F-EBDA-4D39-998C-C38CC342025D}" type="parTrans" cxnId="{6CA9DDF9-EAF2-40E5-8076-C60353D9DCE5}">
      <dgm:prSet/>
      <dgm:spPr/>
      <dgm:t>
        <a:bodyPr/>
        <a:lstStyle/>
        <a:p>
          <a:endParaRPr lang="es-CO"/>
        </a:p>
      </dgm:t>
    </dgm:pt>
    <dgm:pt modelId="{165C59FA-6C61-4F2B-81C0-13AB3DC2657C}" type="sibTrans" cxnId="{6CA9DDF9-EAF2-40E5-8076-C60353D9DCE5}">
      <dgm:prSet/>
      <dgm:spPr/>
      <dgm:t>
        <a:bodyPr/>
        <a:lstStyle/>
        <a:p>
          <a:endParaRPr lang="es-CO"/>
        </a:p>
      </dgm:t>
    </dgm:pt>
    <dgm:pt modelId="{3C3E622D-556E-4EED-A992-D3B581696D64}">
      <dgm:prSet phldrT="[Texto]"/>
      <dgm:spPr/>
      <dgm:t>
        <a:bodyPr/>
        <a:lstStyle/>
        <a:p>
          <a:r>
            <a:rPr lang="es-CO" dirty="0" smtClean="0"/>
            <a:t>Realizar estudios de detalle de las Unidades Funcionales UF5</a:t>
          </a:r>
          <a:endParaRPr lang="es-CO" dirty="0"/>
        </a:p>
      </dgm:t>
    </dgm:pt>
    <dgm:pt modelId="{C2B9C2BB-C425-4A1E-8461-C9FF215B5C67}" type="parTrans" cxnId="{5B865670-8E3F-4570-93D6-77CA981CF294}">
      <dgm:prSet/>
      <dgm:spPr/>
      <dgm:t>
        <a:bodyPr/>
        <a:lstStyle/>
        <a:p>
          <a:endParaRPr lang="es-CO"/>
        </a:p>
      </dgm:t>
    </dgm:pt>
    <dgm:pt modelId="{D8D8A602-7F25-420F-9E92-44433FB6333B}" type="sibTrans" cxnId="{5B865670-8E3F-4570-93D6-77CA981CF294}">
      <dgm:prSet/>
      <dgm:spPr/>
      <dgm:t>
        <a:bodyPr/>
        <a:lstStyle/>
        <a:p>
          <a:endParaRPr lang="es-CO"/>
        </a:p>
      </dgm:t>
    </dgm:pt>
    <dgm:pt modelId="{FAFD276B-0026-4481-8B32-47299389D39E}">
      <dgm:prSet phldrT="[Texto]"/>
      <dgm:spPr/>
      <dgm:t>
        <a:bodyPr/>
        <a:lstStyle/>
        <a:p>
          <a:r>
            <a:rPr lang="es-CO" dirty="0" smtClean="0"/>
            <a:t>Realizar estudios de detalle de las Unidades Funcionales UF6</a:t>
          </a:r>
          <a:endParaRPr lang="es-CO" dirty="0"/>
        </a:p>
      </dgm:t>
    </dgm:pt>
    <dgm:pt modelId="{369ACB93-88CE-4365-909A-8038D09433F8}" type="parTrans" cxnId="{5DD32BDA-8EE0-4B08-B8AA-3966F39E5B13}">
      <dgm:prSet/>
      <dgm:spPr/>
      <dgm:t>
        <a:bodyPr/>
        <a:lstStyle/>
        <a:p>
          <a:endParaRPr lang="es-CO"/>
        </a:p>
      </dgm:t>
    </dgm:pt>
    <dgm:pt modelId="{6522994B-A988-42F5-B446-528F9409ACB9}" type="sibTrans" cxnId="{5DD32BDA-8EE0-4B08-B8AA-3966F39E5B13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149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1BBABEE-A0C8-4583-AF81-CE101C00A4EC}" type="presOf" srcId="{3C3E622D-556E-4EED-A992-D3B581696D64}" destId="{AB09D624-FF1B-4987-8110-30D214096F41}" srcOrd="0" destOrd="4" presId="urn:microsoft.com/office/officeart/2005/8/layout/hList1"/>
    <dgm:cxn modelId="{BAC1335D-8727-4F57-B59F-A9B942E5B89C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5DD32BDA-8EE0-4B08-B8AA-3966F39E5B13}" srcId="{3256AD19-79D9-4DD2-BD85-48D74080CB17}" destId="{FAFD276B-0026-4481-8B32-47299389D39E}" srcOrd="5" destOrd="0" parTransId="{369ACB93-88CE-4365-909A-8038D09433F8}" sibTransId="{6522994B-A988-42F5-B446-528F9409ACB9}"/>
    <dgm:cxn modelId="{D40CB5A8-A78D-4B04-8B15-B416906B286E}" type="presOf" srcId="{CF84DDC2-96BF-432F-AA37-B7281110F630}" destId="{351DADD5-826D-416B-84E5-26678C386891}" srcOrd="0" destOrd="0" presId="urn:microsoft.com/office/officeart/2005/8/layout/hList1"/>
    <dgm:cxn modelId="{8A651894-7D26-43FA-8B81-8192E1EF2CA4}" type="presOf" srcId="{FAFD276B-0026-4481-8B32-47299389D39E}" destId="{AB09D624-FF1B-4987-8110-30D214096F41}" srcOrd="0" destOrd="5" presId="urn:microsoft.com/office/officeart/2005/8/layout/hList1"/>
    <dgm:cxn modelId="{5B865670-8E3F-4570-93D6-77CA981CF294}" srcId="{3256AD19-79D9-4DD2-BD85-48D74080CB17}" destId="{3C3E622D-556E-4EED-A992-D3B581696D64}" srcOrd="4" destOrd="0" parTransId="{C2B9C2BB-C425-4A1E-8461-C9FF215B5C67}" sibTransId="{D8D8A602-7F25-420F-9E92-44433FB6333B}"/>
    <dgm:cxn modelId="{93BD51EB-7654-4A23-B8FF-06C707BF7C13}" type="presOf" srcId="{24EA43F4-19CF-4804-9589-2CD482B701FC}" destId="{AB09D624-FF1B-4987-8110-30D214096F41}" srcOrd="0" destOrd="1" presId="urn:microsoft.com/office/officeart/2005/8/layout/hList1"/>
    <dgm:cxn modelId="{39C03281-CFB9-42CE-AFD3-2548C5363257}" type="presOf" srcId="{62D32E80-FEA0-48C5-B4F3-D3A7B382CF4D}" destId="{AB09D624-FF1B-4987-8110-30D214096F41}" srcOrd="0" destOrd="0" presId="urn:microsoft.com/office/officeart/2005/8/layout/hList1"/>
    <dgm:cxn modelId="{6CA9DDF9-EAF2-40E5-8076-C60353D9DCE5}" srcId="{3256AD19-79D9-4DD2-BD85-48D74080CB17}" destId="{D18C0EDF-4411-47B3-92CE-14CE4C777CBD}" srcOrd="3" destOrd="0" parTransId="{46C5589F-EBDA-4D39-998C-C38CC342025D}" sibTransId="{165C59FA-6C61-4F2B-81C0-13AB3DC2657C}"/>
    <dgm:cxn modelId="{527525DF-5B0E-4BEA-9B8B-A1CD3925A220}" srcId="{3256AD19-79D9-4DD2-BD85-48D74080CB17}" destId="{24EA43F4-19CF-4804-9589-2CD482B701FC}" srcOrd="1" destOrd="0" parTransId="{60624E13-9E3A-4550-82ED-B5D378EC9153}" sibTransId="{669AA02E-0BCE-470B-B8B6-C44EB218761F}"/>
    <dgm:cxn modelId="{16995B61-6335-4DF4-B9BC-2D4310DAF9AB}" type="presOf" srcId="{6941632B-B56C-4B77-B82E-5602B14EEA39}" destId="{AB09D624-FF1B-4987-8110-30D214096F41}" srcOrd="0" destOrd="2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710E5EEB-B5C1-40AD-9FE5-23505C966DA5}" type="presOf" srcId="{D18C0EDF-4411-47B3-92CE-14CE4C777CBD}" destId="{AB09D624-FF1B-4987-8110-30D214096F41}" srcOrd="0" destOrd="3" presId="urn:microsoft.com/office/officeart/2005/8/layout/hList1"/>
    <dgm:cxn modelId="{70475765-DA43-4D0B-A82F-AF5E0D8F6943}" srcId="{3256AD19-79D9-4DD2-BD85-48D74080CB17}" destId="{6941632B-B56C-4B77-B82E-5602B14EEA39}" srcOrd="2" destOrd="0" parTransId="{EE75401D-5DB6-4FD3-A73D-6C7F3479CDDF}" sibTransId="{135595B5-BA75-4844-B113-4502ED5619ED}"/>
    <dgm:cxn modelId="{04EF4FB4-BB60-4EF1-9E41-E806A0BA1C93}" type="presParOf" srcId="{351DADD5-826D-416B-84E5-26678C386891}" destId="{78A07495-0AF3-45E3-8386-C0DF5FF5E438}" srcOrd="0" destOrd="0" presId="urn:microsoft.com/office/officeart/2005/8/layout/hList1"/>
    <dgm:cxn modelId="{015AE568-6920-41CC-A89E-BBD635B60785}" type="presParOf" srcId="{78A07495-0AF3-45E3-8386-C0DF5FF5E438}" destId="{FFC2669E-6EFE-4306-9BF4-0E6FE39D4B43}" srcOrd="0" destOrd="0" presId="urn:microsoft.com/office/officeart/2005/8/layout/hList1"/>
    <dgm:cxn modelId="{0FA021BA-BD10-4EEE-94DE-90A63788DAE2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pt-BR" b="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</a:t>
          </a:r>
          <a:r>
            <a:rPr lang="pt-BR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Secunda </a:t>
          </a:r>
          <a:r>
            <a:rPr lang="pt-BR" b="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alzada</a:t>
          </a:r>
          <a:r>
            <a:rPr lang="pt-BR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: 2,89 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EB957D9F-E14F-4FDF-8082-F11C5EC81A44}">
      <dgm:prSet/>
      <dgm:spPr/>
      <dgm:t>
        <a:bodyPr/>
        <a:lstStyle/>
        <a:p>
          <a:r>
            <a:rPr lang="es-ES" dirty="0"/>
            <a:t>Construcción Doble Calzada: 7,05 Km</a:t>
          </a:r>
        </a:p>
      </dgm:t>
    </dgm:pt>
    <dgm:pt modelId="{B6F83E32-CD1A-42BD-951A-819ABDACBA5F}" type="parTrans" cxnId="{9A574106-D93A-4AFF-A9C0-C8CCD253549F}">
      <dgm:prSet/>
      <dgm:spPr/>
      <dgm:t>
        <a:bodyPr/>
        <a:lstStyle/>
        <a:p>
          <a:endParaRPr lang="es-ES"/>
        </a:p>
      </dgm:t>
    </dgm:pt>
    <dgm:pt modelId="{5BD0EA8E-BA81-4878-8B06-50C4FDC5CBB2}" type="sibTrans" cxnId="{9A574106-D93A-4AFF-A9C0-C8CCD253549F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945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894" custLinFactNeighborY="-148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86F6350-D102-4D7F-B16C-44600D36FDA6}" type="presOf" srcId="{3256AD19-79D9-4DD2-BD85-48D74080CB17}" destId="{FFC2669E-6EFE-4306-9BF4-0E6FE39D4B43}" srcOrd="0" destOrd="0" presId="urn:microsoft.com/office/officeart/2005/8/layout/hList1"/>
    <dgm:cxn modelId="{32E96C54-0645-43AF-B889-98255D09CE31}" type="presOf" srcId="{EB957D9F-E14F-4FDF-8082-F11C5EC81A44}" destId="{AB09D624-FF1B-4987-8110-30D214096F41}" srcOrd="0" destOrd="1" presId="urn:microsoft.com/office/officeart/2005/8/layout/hList1"/>
    <dgm:cxn modelId="{5DBF6A16-6024-4D4B-8273-E019D933DDDC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F4313F1C-B05F-4431-AB40-4FB70CB136DD}" type="presOf" srcId="{62D32E80-FEA0-48C5-B4F3-D3A7B382CF4D}" destId="{AB09D624-FF1B-4987-8110-30D214096F41}" srcOrd="0" destOrd="0" presId="urn:microsoft.com/office/officeart/2005/8/layout/hList1"/>
    <dgm:cxn modelId="{9A574106-D93A-4AFF-A9C0-C8CCD253549F}" srcId="{3256AD19-79D9-4DD2-BD85-48D74080CB17}" destId="{EB957D9F-E14F-4FDF-8082-F11C5EC81A44}" srcOrd="1" destOrd="0" parTransId="{B6F83E32-CD1A-42BD-951A-819ABDACBA5F}" sibTransId="{5BD0EA8E-BA81-4878-8B06-50C4FDC5CBB2}"/>
    <dgm:cxn modelId="{D2CEC46B-FC6D-448A-8FA7-47CA8391EBE9}" type="presParOf" srcId="{351DADD5-826D-416B-84E5-26678C386891}" destId="{78A07495-0AF3-45E3-8386-C0DF5FF5E438}" srcOrd="0" destOrd="0" presId="urn:microsoft.com/office/officeart/2005/8/layout/hList1"/>
    <dgm:cxn modelId="{B78325BD-F81E-442D-A4A4-D76AA93FB3AD}" type="presParOf" srcId="{78A07495-0AF3-45E3-8386-C0DF5FF5E438}" destId="{FFC2669E-6EFE-4306-9BF4-0E6FE39D4B43}" srcOrd="0" destOrd="0" presId="urn:microsoft.com/office/officeart/2005/8/layout/hList1"/>
    <dgm:cxn modelId="{2858D2A2-14C5-4BA3-8F1F-E9F146AEA9AC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Plan de adquisición predial aprobado el 18 de marzo de 2016 (100%)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83D61B0-DBD1-4475-B5C6-87E06F41B8CA}">
      <dgm:prSet phldrT="[Texto]"/>
      <dgm:spPr/>
      <dgm:t>
        <a:bodyPr/>
        <a:lstStyle/>
        <a:p>
          <a:r>
            <a:rPr lang="es-MX" dirty="0" smtClean="0"/>
            <a:t>Diseño geométrico No objetado el 12 de mayo de 2016 (100%)</a:t>
          </a:r>
          <a:endParaRPr lang="es-CO" dirty="0"/>
        </a:p>
      </dgm:t>
    </dgm:pt>
    <dgm:pt modelId="{AF057EE7-34C8-4A9A-87EF-44960A3FEBC0}" type="parTrans" cxnId="{F169E49F-335B-4EDD-9260-CCDD9E9ACB04}">
      <dgm:prSet/>
      <dgm:spPr/>
      <dgm:t>
        <a:bodyPr/>
        <a:lstStyle/>
        <a:p>
          <a:endParaRPr lang="es-CO"/>
        </a:p>
      </dgm:t>
    </dgm:pt>
    <dgm:pt modelId="{E7284062-985C-4F2A-B64D-CA54A3340BEB}" type="sibTrans" cxnId="{F169E49F-335B-4EDD-9260-CCDD9E9ACB04}">
      <dgm:prSet/>
      <dgm:spPr/>
      <dgm:t>
        <a:bodyPr/>
        <a:lstStyle/>
        <a:p>
          <a:endParaRPr lang="es-CO"/>
        </a:p>
      </dgm:t>
    </dgm:pt>
    <dgm:pt modelId="{9942978C-ECA1-4DD2-A9D2-A815EAC8B0BC}">
      <dgm:prSet phldrT="[Texto]"/>
      <dgm:spPr/>
      <dgm:t>
        <a:bodyPr/>
        <a:lstStyle/>
        <a:p>
          <a:r>
            <a:rPr lang="es-MX" dirty="0" smtClean="0"/>
            <a:t>Plan de Obras, en proceso de revisión (80%)</a:t>
          </a:r>
          <a:endParaRPr lang="es-CO" dirty="0"/>
        </a:p>
      </dgm:t>
    </dgm:pt>
    <dgm:pt modelId="{D0331E87-1807-4F3C-BE54-A3CA4AE0E78A}" type="parTrans" cxnId="{EB25B1B0-54B5-4565-94B2-6484FC8A1BCE}">
      <dgm:prSet/>
      <dgm:spPr/>
      <dgm:t>
        <a:bodyPr/>
        <a:lstStyle/>
        <a:p>
          <a:endParaRPr lang="es-CO"/>
        </a:p>
      </dgm:t>
    </dgm:pt>
    <dgm:pt modelId="{0F09462B-B708-400B-8ADC-C2D711B5C6FC}" type="sibTrans" cxnId="{EB25B1B0-54B5-4565-94B2-6484FC8A1BCE}">
      <dgm:prSet/>
      <dgm:spPr/>
      <dgm:t>
        <a:bodyPr/>
        <a:lstStyle/>
        <a:p>
          <a:endParaRPr lang="es-CO"/>
        </a:p>
      </dgm:t>
    </dgm:pt>
    <dgm:pt modelId="{D5AB1382-3467-4997-8099-7AFB0841E5DE}">
      <dgm:prSet phldrT="[Texto]"/>
      <dgm:spPr/>
      <dgm:t>
        <a:bodyPr/>
        <a:lstStyle/>
        <a:p>
          <a:r>
            <a:rPr lang="es-MX" dirty="0" smtClean="0"/>
            <a:t>UF1 – Objetada el 13 de mayo de 2016 (90%)</a:t>
          </a:r>
          <a:endParaRPr lang="es-CO" dirty="0"/>
        </a:p>
      </dgm:t>
    </dgm:pt>
    <dgm:pt modelId="{9057DBB0-FAC6-459A-86F6-6A45CD4FE586}" type="parTrans" cxnId="{8FCC711B-CB36-474F-B2F6-F13DF463DFC4}">
      <dgm:prSet/>
      <dgm:spPr/>
    </dgm:pt>
    <dgm:pt modelId="{1E7934D9-2473-41C9-913A-86CE638C0BE3}" type="sibTrans" cxnId="{8FCC711B-CB36-474F-B2F6-F13DF463DFC4}">
      <dgm:prSet/>
      <dgm:spPr/>
    </dgm:pt>
    <dgm:pt modelId="{0C9BB2DA-E40C-4E75-9A67-EBC70C201522}">
      <dgm:prSet phldrT="[Texto]"/>
      <dgm:spPr/>
      <dgm:t>
        <a:bodyPr/>
        <a:lstStyle/>
        <a:p>
          <a:r>
            <a:rPr lang="es-MX" dirty="0" smtClean="0"/>
            <a:t>UF5 – Objetada el 27 de mayo de 2016 (90%)</a:t>
          </a:r>
          <a:endParaRPr lang="es-CO" dirty="0"/>
        </a:p>
      </dgm:t>
    </dgm:pt>
    <dgm:pt modelId="{6D000AFA-5D5F-4532-8538-D1DB03B3FA61}" type="parTrans" cxnId="{C9DF6A4A-2D01-49F4-BC50-E531D3D85B5C}">
      <dgm:prSet/>
      <dgm:spPr/>
    </dgm:pt>
    <dgm:pt modelId="{79FBD295-03BA-4E7B-BE8A-D1BC74E321F8}" type="sibTrans" cxnId="{C9DF6A4A-2D01-49F4-BC50-E531D3D85B5C}">
      <dgm:prSet/>
      <dgm:spPr/>
    </dgm:pt>
    <dgm:pt modelId="{C512C6B7-96D0-46A4-B611-2944E3CB1549}">
      <dgm:prSet phldrT="[Texto]"/>
      <dgm:spPr/>
      <dgm:t>
        <a:bodyPr/>
        <a:lstStyle/>
        <a:p>
          <a:r>
            <a:rPr lang="es-MX" dirty="0" smtClean="0"/>
            <a:t>UF6 – No Objetada el 27 de mayo de 2016 (100%)</a:t>
          </a:r>
          <a:endParaRPr lang="es-CO" dirty="0"/>
        </a:p>
      </dgm:t>
    </dgm:pt>
    <dgm:pt modelId="{31B3AAF1-EB6F-415D-883E-6723CF04D1D2}" type="parTrans" cxnId="{ADBD72EA-EFEA-4450-B89D-13A495CB6305}">
      <dgm:prSet/>
      <dgm:spPr/>
    </dgm:pt>
    <dgm:pt modelId="{11267E56-85FA-46CD-9AFC-D6FEFE8F52B1}" type="sibTrans" cxnId="{ADBD72EA-EFEA-4450-B89D-13A495CB6305}">
      <dgm:prSet/>
      <dgm:spPr/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79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6217" custLinFactNeighborY="-950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43D82A5-6F4D-4406-BD30-9672A1F5E97D}" type="presOf" srcId="{62D32E80-FEA0-48C5-B4F3-D3A7B382CF4D}" destId="{AB09D624-FF1B-4987-8110-30D214096F41}" srcOrd="0" destOrd="0" presId="urn:microsoft.com/office/officeart/2005/8/layout/hList1"/>
    <dgm:cxn modelId="{D1EF4841-8CF2-4968-8386-30C8163E888C}" type="presOf" srcId="{C512C6B7-96D0-46A4-B611-2944E3CB1549}" destId="{AB09D624-FF1B-4987-8110-30D214096F41}" srcOrd="0" destOrd="5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C9DF6A4A-2D01-49F4-BC50-E531D3D85B5C}" srcId="{3256AD19-79D9-4DD2-BD85-48D74080CB17}" destId="{0C9BB2DA-E40C-4E75-9A67-EBC70C201522}" srcOrd="4" destOrd="0" parTransId="{6D000AFA-5D5F-4532-8538-D1DB03B3FA61}" sibTransId="{79FBD295-03BA-4E7B-BE8A-D1BC74E321F8}"/>
    <dgm:cxn modelId="{62F8CC74-E18F-4E22-BB32-3D1B117F668C}" type="presOf" srcId="{883D61B0-DBD1-4475-B5C6-87E06F41B8CA}" destId="{AB09D624-FF1B-4987-8110-30D214096F41}" srcOrd="0" destOrd="1" presId="urn:microsoft.com/office/officeart/2005/8/layout/hList1"/>
    <dgm:cxn modelId="{C58AC302-FF46-4F64-ACCE-7DD6095107FB}" type="presOf" srcId="{9942978C-ECA1-4DD2-A9D2-A815EAC8B0BC}" destId="{AB09D624-FF1B-4987-8110-30D214096F41}" srcOrd="0" destOrd="2" presId="urn:microsoft.com/office/officeart/2005/8/layout/hList1"/>
    <dgm:cxn modelId="{334452DE-8D17-44D3-B592-6A8944FD65DF}" type="presOf" srcId="{CF84DDC2-96BF-432F-AA37-B7281110F630}" destId="{351DADD5-826D-416B-84E5-26678C386891}" srcOrd="0" destOrd="0" presId="urn:microsoft.com/office/officeart/2005/8/layout/hList1"/>
    <dgm:cxn modelId="{9CC19A38-FA09-464F-B2BC-B3F9346B6427}" type="presOf" srcId="{D5AB1382-3467-4997-8099-7AFB0841E5DE}" destId="{AB09D624-FF1B-4987-8110-30D214096F41}" srcOrd="0" destOrd="3" presId="urn:microsoft.com/office/officeart/2005/8/layout/hList1"/>
    <dgm:cxn modelId="{F1F3F1F2-89A0-4A8D-9C13-D4DC48E80DC6}" type="presOf" srcId="{3256AD19-79D9-4DD2-BD85-48D74080CB17}" destId="{FFC2669E-6EFE-4306-9BF4-0E6FE39D4B43}" srcOrd="0" destOrd="0" presId="urn:microsoft.com/office/officeart/2005/8/layout/hList1"/>
    <dgm:cxn modelId="{EB25B1B0-54B5-4565-94B2-6484FC8A1BCE}" srcId="{3256AD19-79D9-4DD2-BD85-48D74080CB17}" destId="{9942978C-ECA1-4DD2-A9D2-A815EAC8B0BC}" srcOrd="2" destOrd="0" parTransId="{D0331E87-1807-4F3C-BE54-A3CA4AE0E78A}" sibTransId="{0F09462B-B708-400B-8ADC-C2D711B5C6FC}"/>
    <dgm:cxn modelId="{7CE880B2-498E-4FA5-9E75-4136CA2CF9CB}" type="presOf" srcId="{0C9BB2DA-E40C-4E75-9A67-EBC70C201522}" destId="{AB09D624-FF1B-4987-8110-30D214096F41}" srcOrd="0" destOrd="4" presId="urn:microsoft.com/office/officeart/2005/8/layout/hList1"/>
    <dgm:cxn modelId="{ADBD72EA-EFEA-4450-B89D-13A495CB6305}" srcId="{3256AD19-79D9-4DD2-BD85-48D74080CB17}" destId="{C512C6B7-96D0-46A4-B611-2944E3CB1549}" srcOrd="5" destOrd="0" parTransId="{31B3AAF1-EB6F-415D-883E-6723CF04D1D2}" sibTransId="{11267E56-85FA-46CD-9AFC-D6FEFE8F52B1}"/>
    <dgm:cxn modelId="{F169E49F-335B-4EDD-9260-CCDD9E9ACB04}" srcId="{3256AD19-79D9-4DD2-BD85-48D74080CB17}" destId="{883D61B0-DBD1-4475-B5C6-87E06F41B8CA}" srcOrd="1" destOrd="0" parTransId="{AF057EE7-34C8-4A9A-87EF-44960A3FEBC0}" sibTransId="{E7284062-985C-4F2A-B64D-CA54A3340BEB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8FCC711B-CB36-474F-B2F6-F13DF463DFC4}" srcId="{3256AD19-79D9-4DD2-BD85-48D74080CB17}" destId="{D5AB1382-3467-4997-8099-7AFB0841E5DE}" srcOrd="3" destOrd="0" parTransId="{9057DBB0-FAC6-459A-86F6-6A45CD4FE586}" sibTransId="{1E7934D9-2473-41C9-913A-86CE638C0BE3}"/>
    <dgm:cxn modelId="{13F4A77F-AF6A-462E-8BC7-EDF0632F19F3}" type="presParOf" srcId="{351DADD5-826D-416B-84E5-26678C386891}" destId="{78A07495-0AF3-45E3-8386-C0DF5FF5E438}" srcOrd="0" destOrd="0" presId="urn:microsoft.com/office/officeart/2005/8/layout/hList1"/>
    <dgm:cxn modelId="{5045E380-E8FC-4394-827F-EC950CCF4C61}" type="presParOf" srcId="{78A07495-0AF3-45E3-8386-C0DF5FF5E438}" destId="{FFC2669E-6EFE-4306-9BF4-0E6FE39D4B43}" srcOrd="0" destOrd="0" presId="urn:microsoft.com/office/officeart/2005/8/layout/hList1"/>
    <dgm:cxn modelId="{F39F3633-52DB-4D5A-86C8-83CFEB1C35F5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Estudios y Diseños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7EF3582F-EB5B-47BC-8846-2759DD98C233}">
      <dgm:prSet phldrT="[Texto]"/>
      <dgm:spPr/>
      <dgm:t>
        <a:bodyPr/>
        <a:lstStyle/>
        <a:p>
          <a:r>
            <a:rPr lang="es-CO" dirty="0" smtClean="0"/>
            <a:t>Aprobación EIA y PAGA</a:t>
          </a:r>
          <a:endParaRPr lang="es-CO" dirty="0"/>
        </a:p>
      </dgm:t>
    </dgm:pt>
    <dgm:pt modelId="{05A019B4-B41C-46C2-84B1-A47ED487DF0C}" type="parTrans" cxnId="{04404264-D69D-4E27-B12F-370BDDE74221}">
      <dgm:prSet/>
      <dgm:spPr/>
      <dgm:t>
        <a:bodyPr/>
        <a:lstStyle/>
        <a:p>
          <a:endParaRPr lang="es-CO"/>
        </a:p>
      </dgm:t>
    </dgm:pt>
    <dgm:pt modelId="{02B482AD-95C4-45A3-A5E9-502947EE64BC}" type="sibTrans" cxnId="{04404264-D69D-4E27-B12F-370BDDE74221}">
      <dgm:prSet/>
      <dgm:spPr/>
      <dgm:t>
        <a:bodyPr/>
        <a:lstStyle/>
        <a:p>
          <a:endParaRPr lang="es-CO"/>
        </a:p>
      </dgm:t>
    </dgm:pt>
    <dgm:pt modelId="{739E8BC6-DEE2-4B5B-B1CD-31C9EC22FBE9}">
      <dgm:prSet phldrT="[Texto]"/>
      <dgm:spPr/>
      <dgm:t>
        <a:bodyPr/>
        <a:lstStyle/>
        <a:p>
          <a:r>
            <a:rPr lang="es-CO" dirty="0" smtClean="0"/>
            <a:t>Aprobación Plan de Adquisición Predial</a:t>
          </a:r>
          <a:endParaRPr lang="es-CO" dirty="0"/>
        </a:p>
      </dgm:t>
    </dgm:pt>
    <dgm:pt modelId="{E75ABDCE-7AB0-4E8F-8807-A33AE92C7933}" type="parTrans" cxnId="{5440FE96-AF10-45C2-8B76-4F63F8DC96E6}">
      <dgm:prSet/>
      <dgm:spPr/>
      <dgm:t>
        <a:bodyPr/>
        <a:lstStyle/>
        <a:p>
          <a:endParaRPr lang="es-CO"/>
        </a:p>
      </dgm:t>
    </dgm:pt>
    <dgm:pt modelId="{C8279E50-BCA8-4E77-BD7A-33C1D5C5812F}" type="sibTrans" cxnId="{5440FE96-AF10-45C2-8B76-4F63F8DC96E6}">
      <dgm:prSet/>
      <dgm:spPr/>
      <dgm:t>
        <a:bodyPr/>
        <a:lstStyle/>
        <a:p>
          <a:endParaRPr lang="es-CO"/>
        </a:p>
      </dgm:t>
    </dgm:pt>
    <dgm:pt modelId="{E5F47795-F127-415F-9B25-843D487E97A5}">
      <dgm:prSet phldrT="[Texto]"/>
      <dgm:spPr/>
      <dgm:t>
        <a:bodyPr/>
        <a:lstStyle/>
        <a:p>
          <a:r>
            <a:rPr lang="es-CO" dirty="0" smtClean="0"/>
            <a:t>Adquisición 40% de los predios de una unidad funcional el para inicio de obra</a:t>
          </a:r>
          <a:endParaRPr lang="es-CO" dirty="0"/>
        </a:p>
      </dgm:t>
    </dgm:pt>
    <dgm:pt modelId="{701255E7-D8BD-4CC1-9E8D-14F6CBB9F363}" type="parTrans" cxnId="{C0756856-F271-4DF3-875B-C860276EB4B9}">
      <dgm:prSet/>
      <dgm:spPr/>
      <dgm:t>
        <a:bodyPr/>
        <a:lstStyle/>
        <a:p>
          <a:endParaRPr lang="es-CO"/>
        </a:p>
      </dgm:t>
    </dgm:pt>
    <dgm:pt modelId="{15BB6AFC-0BFC-483E-A1B5-AB8E35C176C1}" type="sibTrans" cxnId="{C0756856-F271-4DF3-875B-C860276EB4B9}">
      <dgm:prSet/>
      <dgm:spPr/>
      <dgm:t>
        <a:bodyPr/>
        <a:lstStyle/>
        <a:p>
          <a:endParaRPr lang="es-CO"/>
        </a:p>
      </dgm:t>
    </dgm:pt>
    <dgm:pt modelId="{5B34C407-AEFA-4A23-B5E0-6722BDD07292}">
      <dgm:prSet phldrT="[Texto]"/>
      <dgm:spPr/>
      <dgm:t>
        <a:bodyPr/>
        <a:lstStyle/>
        <a:p>
          <a:r>
            <a:rPr lang="es-CO" dirty="0" smtClean="0"/>
            <a:t>Entrega Plan de Obras </a:t>
          </a:r>
          <a:endParaRPr lang="es-CO" dirty="0"/>
        </a:p>
      </dgm:t>
    </dgm:pt>
    <dgm:pt modelId="{B739E302-3AA2-4D2A-8585-7D8EB0C0ACF3}" type="parTrans" cxnId="{EF42FAF6-A3CC-49DA-9DF1-650D69B576BE}">
      <dgm:prSet/>
      <dgm:spPr/>
      <dgm:t>
        <a:bodyPr/>
        <a:lstStyle/>
        <a:p>
          <a:endParaRPr lang="es-CO"/>
        </a:p>
      </dgm:t>
    </dgm:pt>
    <dgm:pt modelId="{F01E16D0-CCA5-449E-969D-D2F49E45E3AD}" type="sibTrans" cxnId="{EF42FAF6-A3CC-49DA-9DF1-650D69B576BE}">
      <dgm:prSet/>
      <dgm:spPr/>
      <dgm:t>
        <a:bodyPr/>
        <a:lstStyle/>
        <a:p>
          <a:endParaRPr lang="es-CO"/>
        </a:p>
      </dgm:t>
    </dgm:pt>
    <dgm:pt modelId="{E1875AF7-A9CF-484F-9E09-572AB66DF7CE}">
      <dgm:prSet phldrT="[Texto]"/>
      <dgm:spPr/>
      <dgm:t>
        <a:bodyPr/>
        <a:lstStyle/>
        <a:p>
          <a:r>
            <a:rPr lang="es-CO" dirty="0" smtClean="0"/>
            <a:t>Inicio de obra</a:t>
          </a:r>
          <a:endParaRPr lang="es-CO" dirty="0"/>
        </a:p>
      </dgm:t>
    </dgm:pt>
    <dgm:pt modelId="{1D789283-7629-4342-A106-777B16A766BC}" type="parTrans" cxnId="{D81DDD2F-1C64-4020-8CCB-4926D56AE2F0}">
      <dgm:prSet/>
      <dgm:spPr/>
      <dgm:t>
        <a:bodyPr/>
        <a:lstStyle/>
        <a:p>
          <a:endParaRPr lang="es-CO"/>
        </a:p>
      </dgm:t>
    </dgm:pt>
    <dgm:pt modelId="{13D85C93-8EA4-4A2E-A910-EB96ED814B64}" type="sibTrans" cxnId="{D81DDD2F-1C64-4020-8CCB-4926D56AE2F0}">
      <dgm:prSet/>
      <dgm:spPr/>
      <dgm:t>
        <a:bodyPr/>
        <a:lstStyle/>
        <a:p>
          <a:endParaRPr lang="es-CO"/>
        </a:p>
      </dgm:t>
    </dgm:pt>
    <dgm:pt modelId="{2AF9F20A-6697-4E84-A8F2-33949F611AA7}">
      <dgm:prSet phldrT="[Texto]"/>
      <dgm:spPr/>
      <dgm:t>
        <a:bodyPr/>
        <a:lstStyle/>
        <a:p>
          <a:r>
            <a:rPr lang="es-CO" dirty="0" smtClean="0"/>
            <a:t>Cierre Financiero</a:t>
          </a:r>
          <a:endParaRPr lang="es-CO" dirty="0"/>
        </a:p>
      </dgm:t>
    </dgm:pt>
    <dgm:pt modelId="{7ED243A3-9CB3-4B62-B8B6-1D325FAACB45}" type="parTrans" cxnId="{6EF3FDF5-9B73-43AA-86E5-3B6CD8033936}">
      <dgm:prSet/>
      <dgm:spPr/>
      <dgm:t>
        <a:bodyPr/>
        <a:lstStyle/>
        <a:p>
          <a:endParaRPr lang="es-CO"/>
        </a:p>
      </dgm:t>
    </dgm:pt>
    <dgm:pt modelId="{7405EC11-100F-4596-B54D-9155F3A97222}" type="sibTrans" cxnId="{6EF3FDF5-9B73-43AA-86E5-3B6CD803393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440FE96-AF10-45C2-8B76-4F63F8DC96E6}" srcId="{3256AD19-79D9-4DD2-BD85-48D74080CB17}" destId="{739E8BC6-DEE2-4B5B-B1CD-31C9EC22FBE9}" srcOrd="2" destOrd="0" parTransId="{E75ABDCE-7AB0-4E8F-8807-A33AE92C7933}" sibTransId="{C8279E50-BCA8-4E77-BD7A-33C1D5C5812F}"/>
    <dgm:cxn modelId="{DB3E17DB-6804-4AD1-8692-E133F725AFE8}" type="presOf" srcId="{E5F47795-F127-415F-9B25-843D487E97A5}" destId="{AB09D624-FF1B-4987-8110-30D214096F41}" srcOrd="0" destOrd="3" presId="urn:microsoft.com/office/officeart/2005/8/layout/hList1"/>
    <dgm:cxn modelId="{6EF3FDF5-9B73-43AA-86E5-3B6CD8033936}" srcId="{3256AD19-79D9-4DD2-BD85-48D74080CB17}" destId="{2AF9F20A-6697-4E84-A8F2-33949F611AA7}" srcOrd="6" destOrd="0" parTransId="{7ED243A3-9CB3-4B62-B8B6-1D325FAACB45}" sibTransId="{7405EC11-100F-4596-B54D-9155F3A97222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C0756856-F271-4DF3-875B-C860276EB4B9}" srcId="{3256AD19-79D9-4DD2-BD85-48D74080CB17}" destId="{E5F47795-F127-415F-9B25-843D487E97A5}" srcOrd="3" destOrd="0" parTransId="{701255E7-D8BD-4CC1-9E8D-14F6CBB9F363}" sibTransId="{15BB6AFC-0BFC-483E-A1B5-AB8E35C176C1}"/>
    <dgm:cxn modelId="{D81DDD2F-1C64-4020-8CCB-4926D56AE2F0}" srcId="{3256AD19-79D9-4DD2-BD85-48D74080CB17}" destId="{E1875AF7-A9CF-484F-9E09-572AB66DF7CE}" srcOrd="5" destOrd="0" parTransId="{1D789283-7629-4342-A106-777B16A766BC}" sibTransId="{13D85C93-8EA4-4A2E-A910-EB96ED814B64}"/>
    <dgm:cxn modelId="{354E4F1D-299E-442E-906A-D5CB4F53F827}" type="presOf" srcId="{62D32E80-FEA0-48C5-B4F3-D3A7B382CF4D}" destId="{AB09D624-FF1B-4987-8110-30D214096F41}" srcOrd="0" destOrd="0" presId="urn:microsoft.com/office/officeart/2005/8/layout/hList1"/>
    <dgm:cxn modelId="{04404264-D69D-4E27-B12F-370BDDE74221}" srcId="{3256AD19-79D9-4DD2-BD85-48D74080CB17}" destId="{7EF3582F-EB5B-47BC-8846-2759DD98C233}" srcOrd="1" destOrd="0" parTransId="{05A019B4-B41C-46C2-84B1-A47ED487DF0C}" sibTransId="{02B482AD-95C4-45A3-A5E9-502947EE64BC}"/>
    <dgm:cxn modelId="{E3AA00FE-0437-42E3-87F3-5BA9C374AF58}" type="presOf" srcId="{3256AD19-79D9-4DD2-BD85-48D74080CB17}" destId="{FFC2669E-6EFE-4306-9BF4-0E6FE39D4B43}" srcOrd="0" destOrd="0" presId="urn:microsoft.com/office/officeart/2005/8/layout/hList1"/>
    <dgm:cxn modelId="{CC2D866B-7FD7-4D25-89D5-8153E79364A1}" type="presOf" srcId="{2AF9F20A-6697-4E84-A8F2-33949F611AA7}" destId="{AB09D624-FF1B-4987-8110-30D214096F41}" srcOrd="0" destOrd="6" presId="urn:microsoft.com/office/officeart/2005/8/layout/hList1"/>
    <dgm:cxn modelId="{33F335D2-30F4-4743-840C-9E06F6F727A5}" type="presOf" srcId="{7EF3582F-EB5B-47BC-8846-2759DD98C233}" destId="{AB09D624-FF1B-4987-8110-30D214096F41}" srcOrd="0" destOrd="1" presId="urn:microsoft.com/office/officeart/2005/8/layout/hList1"/>
    <dgm:cxn modelId="{BAD19D07-A764-4234-B02E-A4D2E673274D}" type="presOf" srcId="{739E8BC6-DEE2-4B5B-B1CD-31C9EC22FBE9}" destId="{AB09D624-FF1B-4987-8110-30D214096F41}" srcOrd="0" destOrd="2" presId="urn:microsoft.com/office/officeart/2005/8/layout/hList1"/>
    <dgm:cxn modelId="{505BF110-2106-4831-B462-D1C054F9CB7C}" type="presOf" srcId="{E1875AF7-A9CF-484F-9E09-572AB66DF7CE}" destId="{AB09D624-FF1B-4987-8110-30D214096F41}" srcOrd="0" destOrd="5" presId="urn:microsoft.com/office/officeart/2005/8/layout/hList1"/>
    <dgm:cxn modelId="{EF42FAF6-A3CC-49DA-9DF1-650D69B576BE}" srcId="{3256AD19-79D9-4DD2-BD85-48D74080CB17}" destId="{5B34C407-AEFA-4A23-B5E0-6722BDD07292}" srcOrd="4" destOrd="0" parTransId="{B739E302-3AA2-4D2A-8585-7D8EB0C0ACF3}" sibTransId="{F01E16D0-CCA5-449E-969D-D2F49E45E3AD}"/>
    <dgm:cxn modelId="{809DEAAA-8A4C-4A21-B721-1B9243D2879B}" type="presOf" srcId="{5B34C407-AEFA-4A23-B5E0-6722BDD07292}" destId="{AB09D624-FF1B-4987-8110-30D214096F41}" srcOrd="0" destOrd="4" presId="urn:microsoft.com/office/officeart/2005/8/layout/hList1"/>
    <dgm:cxn modelId="{989EDF7D-DAC5-49A0-8D45-673E141D3BFA}" type="presOf" srcId="{CF84DDC2-96BF-432F-AA37-B7281110F630}" destId="{351DADD5-826D-416B-84E5-26678C386891}" srcOrd="0" destOrd="0" presId="urn:microsoft.com/office/officeart/2005/8/layout/hList1"/>
    <dgm:cxn modelId="{2859EB8A-64BB-481F-8B6A-0C6EBE5BD54E}" type="presParOf" srcId="{351DADD5-826D-416B-84E5-26678C386891}" destId="{78A07495-0AF3-45E3-8386-C0DF5FF5E438}" srcOrd="0" destOrd="0" presId="urn:microsoft.com/office/officeart/2005/8/layout/hList1"/>
    <dgm:cxn modelId="{384EDE47-DFB6-4396-B0BF-9CD4F38DEFC5}" type="presParOf" srcId="{78A07495-0AF3-45E3-8386-C0DF5FF5E438}" destId="{FFC2669E-6EFE-4306-9BF4-0E6FE39D4B43}" srcOrd="0" destOrd="0" presId="urn:microsoft.com/office/officeart/2005/8/layout/hList1"/>
    <dgm:cxn modelId="{3158C7EA-0735-44A8-9ECE-540317C00B8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100" dirty="0" smtClean="0"/>
            <a:t>Avances</a:t>
          </a:r>
          <a:endParaRPr lang="es-CO" sz="11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Entrega de los estudios y diseños UF1 – UF4 y UF7 para revisión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A30A2B8D-F9DF-42B8-85A6-30B488CDD56D}">
      <dgm:prSet phldrT="[Texto]"/>
      <dgm:spPr/>
      <dgm:t>
        <a:bodyPr/>
        <a:lstStyle/>
        <a:p>
          <a:r>
            <a:rPr lang="es-CO" dirty="0" smtClean="0"/>
            <a:t>Segunda revisión del EIA y PAGA de parte de la Interventoría</a:t>
          </a:r>
          <a:endParaRPr lang="es-CO" dirty="0"/>
        </a:p>
      </dgm:t>
    </dgm:pt>
    <dgm:pt modelId="{E57C05D3-8CE4-4998-AE6E-E0E0D04FF78D}" type="parTrans" cxnId="{6A549DEE-74B3-462A-B47A-F78189ED69A5}">
      <dgm:prSet/>
      <dgm:spPr/>
      <dgm:t>
        <a:bodyPr/>
        <a:lstStyle/>
        <a:p>
          <a:endParaRPr lang="es-CO"/>
        </a:p>
      </dgm:t>
    </dgm:pt>
    <dgm:pt modelId="{7700B757-09C0-4E39-BBA2-56A52000EA95}" type="sibTrans" cxnId="{6A549DEE-74B3-462A-B47A-F78189ED69A5}">
      <dgm:prSet/>
      <dgm:spPr/>
      <dgm:t>
        <a:bodyPr/>
        <a:lstStyle/>
        <a:p>
          <a:endParaRPr lang="es-CO"/>
        </a:p>
      </dgm:t>
    </dgm:pt>
    <dgm:pt modelId="{BA9C2A46-8489-4176-843C-5E464AF51959}">
      <dgm:prSet phldrT="[Texto]"/>
      <dgm:spPr/>
      <dgm:t>
        <a:bodyPr/>
        <a:lstStyle/>
        <a:p>
          <a:r>
            <a:rPr lang="es-CO" smtClean="0"/>
            <a:t>Segunda Revisión Plan de Adquisición Predial</a:t>
          </a:r>
          <a:endParaRPr lang="es-CO" dirty="0"/>
        </a:p>
      </dgm:t>
    </dgm:pt>
    <dgm:pt modelId="{6AC053A0-6AB9-43D2-BFBE-E0F3A33AF204}" type="parTrans" cxnId="{C3115D1E-438B-4BB2-A9B3-B2441222E045}">
      <dgm:prSet/>
      <dgm:spPr/>
      <dgm:t>
        <a:bodyPr/>
        <a:lstStyle/>
        <a:p>
          <a:endParaRPr lang="es-CO"/>
        </a:p>
      </dgm:t>
    </dgm:pt>
    <dgm:pt modelId="{5635E6C2-33D8-4ECC-A88B-64BFA499EF84}" type="sibTrans" cxnId="{C3115D1E-438B-4BB2-A9B3-B2441222E045}">
      <dgm:prSet/>
      <dgm:spPr/>
      <dgm:t>
        <a:bodyPr/>
        <a:lstStyle/>
        <a:p>
          <a:endParaRPr lang="es-CO"/>
        </a:p>
      </dgm:t>
    </dgm:pt>
    <dgm:pt modelId="{C8C9557C-451D-47C7-A16D-0C8713970B81}">
      <dgm:prSet phldrT="[Texto]"/>
      <dgm:spPr/>
      <dgm:t>
        <a:bodyPr/>
        <a:lstStyle/>
        <a:p>
          <a:r>
            <a:rPr lang="es-CO" dirty="0" smtClean="0"/>
            <a:t>Revisión de los estudios UF1</a:t>
          </a:r>
          <a:endParaRPr lang="es-CO" dirty="0"/>
        </a:p>
      </dgm:t>
    </dgm:pt>
    <dgm:pt modelId="{ADF00FA1-18E5-4AF5-B929-D58B839ADE2E}" type="parTrans" cxnId="{AF0FE859-F9E3-45D6-AA80-3CAAED6BF212}">
      <dgm:prSet/>
      <dgm:spPr/>
      <dgm:t>
        <a:bodyPr/>
        <a:lstStyle/>
        <a:p>
          <a:endParaRPr lang="es-CO"/>
        </a:p>
      </dgm:t>
    </dgm:pt>
    <dgm:pt modelId="{3AF645AF-DB1B-4CB0-B690-A293AFA8983A}" type="sibTrans" cxnId="{AF0FE859-F9E3-45D6-AA80-3CAAED6BF212}">
      <dgm:prSet/>
      <dgm:spPr/>
      <dgm:t>
        <a:bodyPr/>
        <a:lstStyle/>
        <a:p>
          <a:endParaRPr lang="es-CO"/>
        </a:p>
      </dgm:t>
    </dgm:pt>
    <dgm:pt modelId="{1CFC0465-E5BE-4DF7-80A2-42A4EAE6D8A1}">
      <dgm:prSet phldrT="[Texto]"/>
      <dgm:spPr/>
      <dgm:t>
        <a:bodyPr/>
        <a:lstStyle/>
        <a:p>
          <a:r>
            <a:rPr lang="es-CO" smtClean="0"/>
            <a:t>Gestión con INVIAS para identificar los predios adquiridos por el estado</a:t>
          </a:r>
          <a:endParaRPr lang="es-CO" dirty="0"/>
        </a:p>
      </dgm:t>
    </dgm:pt>
    <dgm:pt modelId="{78F8DF7E-B09B-42A8-A8FD-BFCD97E9B43A}" type="parTrans" cxnId="{1A0EDC61-6A23-460E-962C-CEADE7DE6C59}">
      <dgm:prSet/>
      <dgm:spPr/>
      <dgm:t>
        <a:bodyPr/>
        <a:lstStyle/>
        <a:p>
          <a:endParaRPr lang="es-CO"/>
        </a:p>
      </dgm:t>
    </dgm:pt>
    <dgm:pt modelId="{FA228EF6-A800-4222-BF95-B66C227555DE}" type="sibTrans" cxnId="{1A0EDC61-6A23-460E-962C-CEADE7DE6C59}">
      <dgm:prSet/>
      <dgm:spPr/>
      <dgm:t>
        <a:bodyPr/>
        <a:lstStyle/>
        <a:p>
          <a:endParaRPr lang="es-CO"/>
        </a:p>
      </dgm:t>
    </dgm:pt>
    <dgm:pt modelId="{FFF76A1D-0824-4E89-A279-27AE068BD86C}">
      <dgm:prSet phldrT="[Texto]"/>
      <dgm:spPr/>
      <dgm:t>
        <a:bodyPr/>
        <a:lstStyle/>
        <a:p>
          <a:r>
            <a:rPr lang="es-CO" dirty="0" smtClean="0"/>
            <a:t>El concesionario ha adelantado la gestión con varias entidades financieras y ya tiene seleccionado un banco </a:t>
          </a:r>
          <a:endParaRPr lang="es-CO" dirty="0"/>
        </a:p>
      </dgm:t>
    </dgm:pt>
    <dgm:pt modelId="{E137AFE9-00E7-454F-AD53-4B10B236AD8E}" type="parTrans" cxnId="{0575E851-C532-43DC-8C75-B5F2FC9ADDC9}">
      <dgm:prSet/>
      <dgm:spPr/>
      <dgm:t>
        <a:bodyPr/>
        <a:lstStyle/>
        <a:p>
          <a:endParaRPr lang="es-CO"/>
        </a:p>
      </dgm:t>
    </dgm:pt>
    <dgm:pt modelId="{42726FD3-5128-420A-BCA9-505B58658C4D}" type="sibTrans" cxnId="{0575E851-C532-43DC-8C75-B5F2FC9ADDC9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125302" custLinFactNeighborX="447" custLinFactNeighborY="-256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13450" custLinFactNeighborX="2236" custLinFactNeighborY="1148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575E851-C532-43DC-8C75-B5F2FC9ADDC9}" srcId="{3256AD19-79D9-4DD2-BD85-48D74080CB17}" destId="{FFF76A1D-0824-4E89-A279-27AE068BD86C}" srcOrd="5" destOrd="0" parTransId="{E137AFE9-00E7-454F-AD53-4B10B236AD8E}" sibTransId="{42726FD3-5128-420A-BCA9-505B58658C4D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AF0FE859-F9E3-45D6-AA80-3CAAED6BF212}" srcId="{3256AD19-79D9-4DD2-BD85-48D74080CB17}" destId="{C8C9557C-451D-47C7-A16D-0C8713970B81}" srcOrd="3" destOrd="0" parTransId="{ADF00FA1-18E5-4AF5-B929-D58B839ADE2E}" sibTransId="{3AF645AF-DB1B-4CB0-B690-A293AFA8983A}"/>
    <dgm:cxn modelId="{072BC0BB-FE2F-4FED-A8C9-218496B69EC1}" type="presOf" srcId="{CF84DDC2-96BF-432F-AA37-B7281110F630}" destId="{351DADD5-826D-416B-84E5-26678C386891}" srcOrd="0" destOrd="0" presId="urn:microsoft.com/office/officeart/2005/8/layout/hList1"/>
    <dgm:cxn modelId="{58410827-981C-4213-88B5-681EBA96E097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CE78E0D1-1A88-4A3C-872C-B9158CE611E7}" type="presOf" srcId="{BA9C2A46-8489-4176-843C-5E464AF51959}" destId="{AB09D624-FF1B-4987-8110-30D214096F41}" srcOrd="0" destOrd="2" presId="urn:microsoft.com/office/officeart/2005/8/layout/hList1"/>
    <dgm:cxn modelId="{90312536-A011-4E3D-BCC5-605DB996AEE2}" type="presOf" srcId="{62D32E80-FEA0-48C5-B4F3-D3A7B382CF4D}" destId="{AB09D624-FF1B-4987-8110-30D214096F41}" srcOrd="0" destOrd="0" presId="urn:microsoft.com/office/officeart/2005/8/layout/hList1"/>
    <dgm:cxn modelId="{6A549DEE-74B3-462A-B47A-F78189ED69A5}" srcId="{3256AD19-79D9-4DD2-BD85-48D74080CB17}" destId="{A30A2B8D-F9DF-42B8-85A6-30B488CDD56D}" srcOrd="1" destOrd="0" parTransId="{E57C05D3-8CE4-4998-AE6E-E0E0D04FF78D}" sibTransId="{7700B757-09C0-4E39-BBA2-56A52000EA95}"/>
    <dgm:cxn modelId="{1A0EDC61-6A23-460E-962C-CEADE7DE6C59}" srcId="{3256AD19-79D9-4DD2-BD85-48D74080CB17}" destId="{1CFC0465-E5BE-4DF7-80A2-42A4EAE6D8A1}" srcOrd="4" destOrd="0" parTransId="{78F8DF7E-B09B-42A8-A8FD-BFCD97E9B43A}" sibTransId="{FA228EF6-A800-4222-BF95-B66C227555DE}"/>
    <dgm:cxn modelId="{C3115D1E-438B-4BB2-A9B3-B2441222E045}" srcId="{3256AD19-79D9-4DD2-BD85-48D74080CB17}" destId="{BA9C2A46-8489-4176-843C-5E464AF51959}" srcOrd="2" destOrd="0" parTransId="{6AC053A0-6AB9-43D2-BFBE-E0F3A33AF204}" sibTransId="{5635E6C2-33D8-4ECC-A88B-64BFA499EF84}"/>
    <dgm:cxn modelId="{657266CD-22F7-448B-B42A-B31BC25111EE}" type="presOf" srcId="{1CFC0465-E5BE-4DF7-80A2-42A4EAE6D8A1}" destId="{AB09D624-FF1B-4987-8110-30D214096F41}" srcOrd="0" destOrd="4" presId="urn:microsoft.com/office/officeart/2005/8/layout/hList1"/>
    <dgm:cxn modelId="{F14E7BDF-8A6B-4A8C-B03C-92B02F85CD9E}" type="presOf" srcId="{A30A2B8D-F9DF-42B8-85A6-30B488CDD56D}" destId="{AB09D624-FF1B-4987-8110-30D214096F41}" srcOrd="0" destOrd="1" presId="urn:microsoft.com/office/officeart/2005/8/layout/hList1"/>
    <dgm:cxn modelId="{E0A11EAE-48C3-4575-BED8-ED5D21D926B0}" type="presOf" srcId="{C8C9557C-451D-47C7-A16D-0C8713970B81}" destId="{AB09D624-FF1B-4987-8110-30D214096F41}" srcOrd="0" destOrd="3" presId="urn:microsoft.com/office/officeart/2005/8/layout/hList1"/>
    <dgm:cxn modelId="{4DFE1547-1942-4831-AF7F-28535B747D5F}" type="presOf" srcId="{FFF76A1D-0824-4E89-A279-27AE068BD86C}" destId="{AB09D624-FF1B-4987-8110-30D214096F41}" srcOrd="0" destOrd="5" presId="urn:microsoft.com/office/officeart/2005/8/layout/hList1"/>
    <dgm:cxn modelId="{A0BDA14E-275E-42D6-A559-4E2CCDBF7141}" type="presParOf" srcId="{351DADD5-826D-416B-84E5-26678C386891}" destId="{78A07495-0AF3-45E3-8386-C0DF5FF5E438}" srcOrd="0" destOrd="0" presId="urn:microsoft.com/office/officeart/2005/8/layout/hList1"/>
    <dgm:cxn modelId="{BF0AE2A4-90B7-49BF-A616-A3CBA5F63F27}" type="presParOf" srcId="{78A07495-0AF3-45E3-8386-C0DF5FF5E438}" destId="{FFC2669E-6EFE-4306-9BF4-0E6FE39D4B43}" srcOrd="0" destOrd="0" presId="urn:microsoft.com/office/officeart/2005/8/layout/hList1"/>
    <dgm:cxn modelId="{0C41C2A5-EF5C-4F2B-BAEE-FE87848BA4E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1300" dirty="0" smtClean="0"/>
            <a:t>Metas</a:t>
          </a:r>
          <a:endParaRPr lang="es-CO" sz="13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1300" dirty="0" smtClean="0"/>
            <a:t>Plan de Adquisición Predial</a:t>
          </a:r>
          <a:endParaRPr lang="es-CO" sz="13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86D39C2-612A-4DCF-9BB6-F11B8ED204FA}">
      <dgm:prSet phldrT="[Texto]" custT="1"/>
      <dgm:spPr/>
      <dgm:t>
        <a:bodyPr/>
        <a:lstStyle/>
        <a:p>
          <a:r>
            <a:rPr lang="es-CO" sz="1300" dirty="0" smtClean="0"/>
            <a:t>Plan de obras</a:t>
          </a:r>
          <a:endParaRPr lang="es-CO" sz="1300" dirty="0"/>
        </a:p>
      </dgm:t>
    </dgm:pt>
    <dgm:pt modelId="{03443078-0A08-4303-9F56-4188E1F89391}" type="parTrans" cxnId="{E7A1F258-314F-417E-9C95-9B9653A9A37A}">
      <dgm:prSet/>
      <dgm:spPr/>
      <dgm:t>
        <a:bodyPr/>
        <a:lstStyle/>
        <a:p>
          <a:endParaRPr lang="es-CO"/>
        </a:p>
      </dgm:t>
    </dgm:pt>
    <dgm:pt modelId="{3261229A-A022-40C5-8B50-0EAB08160707}" type="sibTrans" cxnId="{E7A1F258-314F-417E-9C95-9B9653A9A37A}">
      <dgm:prSet/>
      <dgm:spPr/>
      <dgm:t>
        <a:bodyPr/>
        <a:lstStyle/>
        <a:p>
          <a:endParaRPr lang="es-CO"/>
        </a:p>
      </dgm:t>
    </dgm:pt>
    <dgm:pt modelId="{A2A62837-8BF8-493E-A42F-496283A7B52D}">
      <dgm:prSet phldrT="[Texto]" custT="1"/>
      <dgm:spPr/>
      <dgm:t>
        <a:bodyPr/>
        <a:lstStyle/>
        <a:p>
          <a:r>
            <a:rPr lang="es-CO" sz="1300" dirty="0" smtClean="0"/>
            <a:t>Aprobación Estudios de Trazado y Diseño Geométrico</a:t>
          </a:r>
          <a:endParaRPr lang="es-CO" sz="1300" dirty="0"/>
        </a:p>
      </dgm:t>
    </dgm:pt>
    <dgm:pt modelId="{58EF5270-4928-47EF-BF88-AFACE830D80D}" type="parTrans" cxnId="{3CF57D79-19AD-4C4E-B8F5-BE2DD09BB202}">
      <dgm:prSet/>
      <dgm:spPr/>
      <dgm:t>
        <a:bodyPr/>
        <a:lstStyle/>
        <a:p>
          <a:endParaRPr lang="es-CO"/>
        </a:p>
      </dgm:t>
    </dgm:pt>
    <dgm:pt modelId="{DF317E9A-9055-4345-B060-069E2D4CA15A}" type="sibTrans" cxnId="{3CF57D79-19AD-4C4E-B8F5-BE2DD09BB202}">
      <dgm:prSet/>
      <dgm:spPr/>
      <dgm:t>
        <a:bodyPr/>
        <a:lstStyle/>
        <a:p>
          <a:endParaRPr lang="es-CO"/>
        </a:p>
      </dgm:t>
    </dgm:pt>
    <dgm:pt modelId="{599EC5EA-E8BD-4E38-A28C-6CBA9ABC1F8E}">
      <dgm:prSet phldrT="[Texto]" custT="1"/>
      <dgm:spPr/>
      <dgm:t>
        <a:bodyPr/>
        <a:lstStyle/>
        <a:p>
          <a:r>
            <a:rPr lang="es-CO" sz="1300" dirty="0" smtClean="0"/>
            <a:t>Aprobación Estudios de Detalle de las 4 Unidades Funcionales del Proyecto.</a:t>
          </a:r>
          <a:endParaRPr lang="es-CO" sz="1300" dirty="0"/>
        </a:p>
      </dgm:t>
    </dgm:pt>
    <dgm:pt modelId="{A3032B81-60E1-4A3C-90C3-1906CCDA6F76}" type="parTrans" cxnId="{66C6A22F-DDE6-444E-8281-D6552B74770B}">
      <dgm:prSet/>
      <dgm:spPr/>
      <dgm:t>
        <a:bodyPr/>
        <a:lstStyle/>
        <a:p>
          <a:endParaRPr lang="es-CO"/>
        </a:p>
      </dgm:t>
    </dgm:pt>
    <dgm:pt modelId="{7C1D4856-5EC0-45B4-A478-D8EA893F260B}" type="sibTrans" cxnId="{66C6A22F-DDE6-444E-8281-D6552B74770B}">
      <dgm:prSet/>
      <dgm:spPr/>
      <dgm:t>
        <a:bodyPr/>
        <a:lstStyle/>
        <a:p>
          <a:endParaRPr lang="es-CO"/>
        </a:p>
      </dgm:t>
    </dgm:pt>
    <dgm:pt modelId="{0C6D0F93-0371-4532-8D41-DD0EDF646BBB}">
      <dgm:prSet phldrT="[Texto]"/>
      <dgm:spPr/>
      <dgm:t>
        <a:bodyPr/>
        <a:lstStyle/>
        <a:p>
          <a:endParaRPr lang="es-CO" sz="1200" dirty="0"/>
        </a:p>
      </dgm:t>
    </dgm:pt>
    <dgm:pt modelId="{D94FD3F8-2FE5-4C5B-94B7-50C1913D805E}" type="parTrans" cxnId="{BE96E68F-96A8-4874-916C-F20DCBBCCC9A}">
      <dgm:prSet/>
      <dgm:spPr/>
      <dgm:t>
        <a:bodyPr/>
        <a:lstStyle/>
        <a:p>
          <a:endParaRPr lang="es-CO"/>
        </a:p>
      </dgm:t>
    </dgm:pt>
    <dgm:pt modelId="{28C788D5-B35F-474C-B23C-49E95F6CF882}" type="sibTrans" cxnId="{BE96E68F-96A8-4874-916C-F20DCBBCCC9A}">
      <dgm:prSet/>
      <dgm:spPr/>
      <dgm:t>
        <a:bodyPr/>
        <a:lstStyle/>
        <a:p>
          <a:endParaRPr lang="es-CO"/>
        </a:p>
      </dgm:t>
    </dgm:pt>
    <dgm:pt modelId="{15373439-369F-4761-9111-B6833257DA0C}">
      <dgm:prSet phldrT="[Texto]" custT="1"/>
      <dgm:spPr/>
      <dgm:t>
        <a:bodyPr/>
        <a:lstStyle/>
        <a:p>
          <a:r>
            <a:rPr lang="es-CO" sz="1300" dirty="0" smtClean="0"/>
            <a:t>Mantenimiento y operación de la vía existente</a:t>
          </a:r>
          <a:endParaRPr lang="es-CO" sz="1300" dirty="0"/>
        </a:p>
      </dgm:t>
    </dgm:pt>
    <dgm:pt modelId="{86C33566-8B75-4728-849C-4620C92F397E}" type="parTrans" cxnId="{9E3F244E-552C-474E-8245-889F641467E0}">
      <dgm:prSet/>
      <dgm:spPr/>
      <dgm:t>
        <a:bodyPr/>
        <a:lstStyle/>
        <a:p>
          <a:endParaRPr lang="es-CO"/>
        </a:p>
      </dgm:t>
    </dgm:pt>
    <dgm:pt modelId="{68C1E839-B29A-41DD-8782-48DFD32DC545}" type="sibTrans" cxnId="{9E3F244E-552C-474E-8245-889F641467E0}">
      <dgm:prSet/>
      <dgm:spPr/>
      <dgm:t>
        <a:bodyPr/>
        <a:lstStyle/>
        <a:p>
          <a:endParaRPr lang="es-CO"/>
        </a:p>
      </dgm:t>
    </dgm:pt>
    <dgm:pt modelId="{B7180B01-D054-468B-874E-FC2C6AF327A7}">
      <dgm:prSet phldrT="[Texto]"/>
      <dgm:spPr/>
      <dgm:t>
        <a:bodyPr/>
        <a:lstStyle/>
        <a:p>
          <a:endParaRPr lang="es-CO" sz="1200" dirty="0"/>
        </a:p>
      </dgm:t>
    </dgm:pt>
    <dgm:pt modelId="{CCFD8253-1FD7-4A13-9661-28B2CE3BDAB6}" type="parTrans" cxnId="{A59F1831-0C3F-4DB0-AEC0-1E22BF3EE8A8}">
      <dgm:prSet/>
      <dgm:spPr/>
      <dgm:t>
        <a:bodyPr/>
        <a:lstStyle/>
        <a:p>
          <a:endParaRPr lang="es-CO"/>
        </a:p>
      </dgm:t>
    </dgm:pt>
    <dgm:pt modelId="{FE70733E-A2F6-42AD-8EA3-158B6853A530}" type="sibTrans" cxnId="{A59F1831-0C3F-4DB0-AEC0-1E22BF3EE8A8}">
      <dgm:prSet/>
      <dgm:spPr/>
      <dgm:t>
        <a:bodyPr/>
        <a:lstStyle/>
        <a:p>
          <a:endParaRPr lang="es-CO"/>
        </a:p>
      </dgm:t>
    </dgm:pt>
    <dgm:pt modelId="{F5F08100-125B-47F7-8BF5-D8760AB496BB}">
      <dgm:prSet phldrT="[Texto]"/>
      <dgm:spPr/>
      <dgm:t>
        <a:bodyPr/>
        <a:lstStyle/>
        <a:p>
          <a:endParaRPr lang="es-CO" sz="1200" dirty="0"/>
        </a:p>
      </dgm:t>
    </dgm:pt>
    <dgm:pt modelId="{4816B345-B824-4FBB-8852-6FF3E75E11D1}" type="parTrans" cxnId="{E86281AC-A150-4422-B2C3-64B04DF2F7BC}">
      <dgm:prSet/>
      <dgm:spPr/>
      <dgm:t>
        <a:bodyPr/>
        <a:lstStyle/>
        <a:p>
          <a:endParaRPr lang="es-CO"/>
        </a:p>
      </dgm:t>
    </dgm:pt>
    <dgm:pt modelId="{50B1D6C0-267B-4DF5-A075-105C466B621F}" type="sibTrans" cxnId="{E86281AC-A150-4422-B2C3-64B04DF2F7BC}">
      <dgm:prSet/>
      <dgm:spPr/>
      <dgm:t>
        <a:bodyPr/>
        <a:lstStyle/>
        <a:p>
          <a:endParaRPr lang="es-CO"/>
        </a:p>
      </dgm:t>
    </dgm:pt>
    <dgm:pt modelId="{71DD14BB-30D7-47F3-B9B8-8F29AC343F34}">
      <dgm:prSet phldrT="[Texto]"/>
      <dgm:spPr/>
      <dgm:t>
        <a:bodyPr/>
        <a:lstStyle/>
        <a:p>
          <a:endParaRPr lang="es-CO" sz="1200" dirty="0"/>
        </a:p>
      </dgm:t>
    </dgm:pt>
    <dgm:pt modelId="{65BC700B-F40E-4EAF-B741-606EB0EBDE44}" type="parTrans" cxnId="{B0DE117A-67D2-4075-9C87-82200B410E13}">
      <dgm:prSet/>
      <dgm:spPr/>
      <dgm:t>
        <a:bodyPr/>
        <a:lstStyle/>
        <a:p>
          <a:endParaRPr lang="es-CO"/>
        </a:p>
      </dgm:t>
    </dgm:pt>
    <dgm:pt modelId="{A5450D94-D31B-4745-9D0E-66F1EAE43346}" type="sibTrans" cxnId="{B0DE117A-67D2-4075-9C87-82200B410E13}">
      <dgm:prSet/>
      <dgm:spPr/>
      <dgm:t>
        <a:bodyPr/>
        <a:lstStyle/>
        <a:p>
          <a:endParaRPr lang="es-CO"/>
        </a:p>
      </dgm:t>
    </dgm:pt>
    <dgm:pt modelId="{4424F786-C655-4425-8529-4EAD34E453FE}">
      <dgm:prSet phldrT="[Texto]" custT="1"/>
      <dgm:spPr/>
      <dgm:t>
        <a:bodyPr/>
        <a:lstStyle/>
        <a:p>
          <a:r>
            <a:rPr lang="es-CO" sz="1300" dirty="0" smtClean="0"/>
            <a:t>Cierre Financiero</a:t>
          </a:r>
          <a:endParaRPr lang="es-CO" sz="1300" dirty="0"/>
        </a:p>
      </dgm:t>
    </dgm:pt>
    <dgm:pt modelId="{DE5B2756-D316-423D-A9BB-C104D963367E}" type="parTrans" cxnId="{E16810EB-2EB7-4990-93BA-62052D71A941}">
      <dgm:prSet/>
      <dgm:spPr/>
      <dgm:t>
        <a:bodyPr/>
        <a:lstStyle/>
        <a:p>
          <a:endParaRPr lang="es-CO"/>
        </a:p>
      </dgm:t>
    </dgm:pt>
    <dgm:pt modelId="{F9CF0C60-C988-4F26-B723-2A8371149CE3}" type="sibTrans" cxnId="{E16810EB-2EB7-4990-93BA-62052D71A941}">
      <dgm:prSet/>
      <dgm:spPr/>
      <dgm:t>
        <a:bodyPr/>
        <a:lstStyle/>
        <a:p>
          <a:endParaRPr lang="es-CO"/>
        </a:p>
      </dgm:t>
    </dgm:pt>
    <dgm:pt modelId="{C93B1653-8765-442F-B4F7-FBDF083B4BB6}">
      <dgm:prSet phldrT="[Texto]" custT="1"/>
      <dgm:spPr/>
      <dgm:t>
        <a:bodyPr/>
        <a:lstStyle/>
        <a:p>
          <a:r>
            <a:rPr lang="es-CO" sz="1300" dirty="0" smtClean="0"/>
            <a:t>Inicio construcción de la obra</a:t>
          </a:r>
          <a:endParaRPr lang="es-CO" sz="1300" dirty="0"/>
        </a:p>
      </dgm:t>
    </dgm:pt>
    <dgm:pt modelId="{6C807A98-DD23-463D-B036-98F74D64696F}" type="parTrans" cxnId="{436ADBDA-ABA9-4B58-B026-E3188A4BBE49}">
      <dgm:prSet/>
      <dgm:spPr/>
      <dgm:t>
        <a:bodyPr/>
        <a:lstStyle/>
        <a:p>
          <a:endParaRPr lang="es-CO"/>
        </a:p>
      </dgm:t>
    </dgm:pt>
    <dgm:pt modelId="{4DF9589D-87BC-4F88-BF0A-3B81AA206F3E}" type="sibTrans" cxnId="{436ADBDA-ABA9-4B58-B026-E3188A4BBE49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387" custLinFactNeighborY="-2930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6C6A22F-DDE6-444E-8281-D6552B74770B}" srcId="{3256AD19-79D9-4DD2-BD85-48D74080CB17}" destId="{599EC5EA-E8BD-4E38-A28C-6CBA9ABC1F8E}" srcOrd="3" destOrd="0" parTransId="{A3032B81-60E1-4A3C-90C3-1906CCDA6F76}" sibTransId="{7C1D4856-5EC0-45B4-A478-D8EA893F260B}"/>
    <dgm:cxn modelId="{86A895B8-7086-4618-BF52-70C6BD77E6A0}" type="presOf" srcId="{086D39C2-612A-4DCF-9BB6-F11B8ED204FA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A59F1831-0C3F-4DB0-AEC0-1E22BF3EE8A8}" srcId="{3256AD19-79D9-4DD2-BD85-48D74080CB17}" destId="{B7180B01-D054-468B-874E-FC2C6AF327A7}" srcOrd="9" destOrd="0" parTransId="{CCFD8253-1FD7-4A13-9661-28B2CE3BDAB6}" sibTransId="{FE70733E-A2F6-42AD-8EA3-158B6853A530}"/>
    <dgm:cxn modelId="{8A14B96F-6496-48C0-866C-84B12169E678}" type="presOf" srcId="{3256AD19-79D9-4DD2-BD85-48D74080CB17}" destId="{FFC2669E-6EFE-4306-9BF4-0E6FE39D4B43}" srcOrd="0" destOrd="0" presId="urn:microsoft.com/office/officeart/2005/8/layout/hList1"/>
    <dgm:cxn modelId="{FABF6B7C-C3B3-4A8C-8669-430DF1BED290}" type="presOf" srcId="{0C6D0F93-0371-4532-8D41-DD0EDF646BBB}" destId="{AB09D624-FF1B-4987-8110-30D214096F41}" srcOrd="0" destOrd="10" presId="urn:microsoft.com/office/officeart/2005/8/layout/hList1"/>
    <dgm:cxn modelId="{D5163FF5-B62D-4142-8743-BD11B6F17980}" type="presOf" srcId="{599EC5EA-E8BD-4E38-A28C-6CBA9ABC1F8E}" destId="{AB09D624-FF1B-4987-8110-30D214096F41}" srcOrd="0" destOrd="3" presId="urn:microsoft.com/office/officeart/2005/8/layout/hList1"/>
    <dgm:cxn modelId="{676B782B-F53D-46A3-B22F-47CCC68B9DE3}" type="presOf" srcId="{CF84DDC2-96BF-432F-AA37-B7281110F630}" destId="{351DADD5-826D-416B-84E5-26678C386891}" srcOrd="0" destOrd="0" presId="urn:microsoft.com/office/officeart/2005/8/layout/hList1"/>
    <dgm:cxn modelId="{BE96E68F-96A8-4874-916C-F20DCBBCCC9A}" srcId="{3256AD19-79D9-4DD2-BD85-48D74080CB17}" destId="{0C6D0F93-0371-4532-8D41-DD0EDF646BBB}" srcOrd="10" destOrd="0" parTransId="{D94FD3F8-2FE5-4C5B-94B7-50C1913D805E}" sibTransId="{28C788D5-B35F-474C-B23C-49E95F6CF882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436ADBDA-ABA9-4B58-B026-E3188A4BBE49}" srcId="{3256AD19-79D9-4DD2-BD85-48D74080CB17}" destId="{C93B1653-8765-442F-B4F7-FBDF083B4BB6}" srcOrd="6" destOrd="0" parTransId="{6C807A98-DD23-463D-B036-98F74D64696F}" sibTransId="{4DF9589D-87BC-4F88-BF0A-3B81AA206F3E}"/>
    <dgm:cxn modelId="{EDB47F99-E058-4F22-B151-37860E316625}" type="presOf" srcId="{62D32E80-FEA0-48C5-B4F3-D3A7B382CF4D}" destId="{AB09D624-FF1B-4987-8110-30D214096F41}" srcOrd="0" destOrd="0" presId="urn:microsoft.com/office/officeart/2005/8/layout/hList1"/>
    <dgm:cxn modelId="{E16810EB-2EB7-4990-93BA-62052D71A941}" srcId="{3256AD19-79D9-4DD2-BD85-48D74080CB17}" destId="{4424F786-C655-4425-8529-4EAD34E453FE}" srcOrd="5" destOrd="0" parTransId="{DE5B2756-D316-423D-A9BB-C104D963367E}" sibTransId="{F9CF0C60-C988-4F26-B723-2A8371149CE3}"/>
    <dgm:cxn modelId="{CAC49627-130C-4DD8-AAF2-1EFBA3872875}" type="presOf" srcId="{F5F08100-125B-47F7-8BF5-D8760AB496BB}" destId="{AB09D624-FF1B-4987-8110-30D214096F41}" srcOrd="0" destOrd="8" presId="urn:microsoft.com/office/officeart/2005/8/layout/hList1"/>
    <dgm:cxn modelId="{9E3F244E-552C-474E-8245-889F641467E0}" srcId="{3256AD19-79D9-4DD2-BD85-48D74080CB17}" destId="{15373439-369F-4761-9111-B6833257DA0C}" srcOrd="4" destOrd="0" parTransId="{86C33566-8B75-4728-849C-4620C92F397E}" sibTransId="{68C1E839-B29A-41DD-8782-48DFD32DC545}"/>
    <dgm:cxn modelId="{3CF57D79-19AD-4C4E-B8F5-BE2DD09BB202}" srcId="{3256AD19-79D9-4DD2-BD85-48D74080CB17}" destId="{A2A62837-8BF8-493E-A42F-496283A7B52D}" srcOrd="2" destOrd="0" parTransId="{58EF5270-4928-47EF-BF88-AFACE830D80D}" sibTransId="{DF317E9A-9055-4345-B060-069E2D4CA15A}"/>
    <dgm:cxn modelId="{E7A1F258-314F-417E-9C95-9B9653A9A37A}" srcId="{3256AD19-79D9-4DD2-BD85-48D74080CB17}" destId="{086D39C2-612A-4DCF-9BB6-F11B8ED204FA}" srcOrd="1" destOrd="0" parTransId="{03443078-0A08-4303-9F56-4188E1F89391}" sibTransId="{3261229A-A022-40C5-8B50-0EAB08160707}"/>
    <dgm:cxn modelId="{CFD62F19-204B-4099-8675-46AD6ACEA86B}" type="presOf" srcId="{71DD14BB-30D7-47F3-B9B8-8F29AC343F34}" destId="{AB09D624-FF1B-4987-8110-30D214096F41}" srcOrd="0" destOrd="7" presId="urn:microsoft.com/office/officeart/2005/8/layout/hList1"/>
    <dgm:cxn modelId="{6985E5F2-99F7-4BC1-93DB-5980ABA671C8}" type="presOf" srcId="{15373439-369F-4761-9111-B6833257DA0C}" destId="{AB09D624-FF1B-4987-8110-30D214096F41}" srcOrd="0" destOrd="4" presId="urn:microsoft.com/office/officeart/2005/8/layout/hList1"/>
    <dgm:cxn modelId="{B8C9097A-708D-46B1-8B14-48EC4C75274B}" type="presOf" srcId="{4424F786-C655-4425-8529-4EAD34E453FE}" destId="{AB09D624-FF1B-4987-8110-30D214096F41}" srcOrd="0" destOrd="5" presId="urn:microsoft.com/office/officeart/2005/8/layout/hList1"/>
    <dgm:cxn modelId="{9717C9B4-0777-4745-9799-7E82C6C656F9}" type="presOf" srcId="{C93B1653-8765-442F-B4F7-FBDF083B4BB6}" destId="{AB09D624-FF1B-4987-8110-30D214096F41}" srcOrd="0" destOrd="6" presId="urn:microsoft.com/office/officeart/2005/8/layout/hList1"/>
    <dgm:cxn modelId="{FCBC3679-CEA3-4004-A163-2A77F8B00B2B}" type="presOf" srcId="{A2A62837-8BF8-493E-A42F-496283A7B52D}" destId="{AB09D624-FF1B-4987-8110-30D214096F41}" srcOrd="0" destOrd="2" presId="urn:microsoft.com/office/officeart/2005/8/layout/hList1"/>
    <dgm:cxn modelId="{B0DE117A-67D2-4075-9C87-82200B410E13}" srcId="{3256AD19-79D9-4DD2-BD85-48D74080CB17}" destId="{71DD14BB-30D7-47F3-B9B8-8F29AC343F34}" srcOrd="7" destOrd="0" parTransId="{65BC700B-F40E-4EAF-B741-606EB0EBDE44}" sibTransId="{A5450D94-D31B-4745-9D0E-66F1EAE43346}"/>
    <dgm:cxn modelId="{AB485CBB-3F8A-4F96-B06D-BD6F9A1ABBB7}" type="presOf" srcId="{B7180B01-D054-468B-874E-FC2C6AF327A7}" destId="{AB09D624-FF1B-4987-8110-30D214096F41}" srcOrd="0" destOrd="9" presId="urn:microsoft.com/office/officeart/2005/8/layout/hList1"/>
    <dgm:cxn modelId="{E86281AC-A150-4422-B2C3-64B04DF2F7BC}" srcId="{3256AD19-79D9-4DD2-BD85-48D74080CB17}" destId="{F5F08100-125B-47F7-8BF5-D8760AB496BB}" srcOrd="8" destOrd="0" parTransId="{4816B345-B824-4FBB-8852-6FF3E75E11D1}" sibTransId="{50B1D6C0-267B-4DF5-A075-105C466B621F}"/>
    <dgm:cxn modelId="{947D7894-4971-4E97-AC2C-E197A5AE67BA}" type="presParOf" srcId="{351DADD5-826D-416B-84E5-26678C386891}" destId="{78A07495-0AF3-45E3-8386-C0DF5FF5E438}" srcOrd="0" destOrd="0" presId="urn:microsoft.com/office/officeart/2005/8/layout/hList1"/>
    <dgm:cxn modelId="{1F523E85-ABF4-472E-AD38-8657A99E67D2}" type="presParOf" srcId="{78A07495-0AF3-45E3-8386-C0DF5FF5E438}" destId="{FFC2669E-6EFE-4306-9BF4-0E6FE39D4B43}" srcOrd="0" destOrd="0" presId="urn:microsoft.com/office/officeart/2005/8/layout/hList1"/>
    <dgm:cxn modelId="{8AFEDC0E-258B-4FE5-B589-44B7F8C53D10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Plan de Adquisición Predial – En revisión por Interventoría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D9380B7-E368-4ACE-B528-88A2CCA89127}">
      <dgm:prSet/>
      <dgm:spPr/>
      <dgm:t>
        <a:bodyPr/>
        <a:lstStyle/>
        <a:p>
          <a:r>
            <a:rPr lang="es-CO" dirty="0" smtClean="0"/>
            <a:t>Plan de obras - En revisión por Interventoría y ANI</a:t>
          </a:r>
          <a:endParaRPr lang="es-CO" dirty="0"/>
        </a:p>
      </dgm:t>
    </dgm:pt>
    <dgm:pt modelId="{B140F4C8-F6B5-46B9-A5B6-F5CD3A3ADE72}" type="parTrans" cxnId="{AD228941-7708-44E0-87DF-6DC7C4D2A860}">
      <dgm:prSet/>
      <dgm:spPr/>
      <dgm:t>
        <a:bodyPr/>
        <a:lstStyle/>
        <a:p>
          <a:endParaRPr lang="es-CO"/>
        </a:p>
      </dgm:t>
    </dgm:pt>
    <dgm:pt modelId="{F7504B49-346C-40AE-8F72-A7A65FF4F128}" type="sibTrans" cxnId="{AD228941-7708-44E0-87DF-6DC7C4D2A860}">
      <dgm:prSet/>
      <dgm:spPr/>
      <dgm:t>
        <a:bodyPr/>
        <a:lstStyle/>
        <a:p>
          <a:endParaRPr lang="es-CO"/>
        </a:p>
      </dgm:t>
    </dgm:pt>
    <dgm:pt modelId="{D821B9A7-BD36-47E7-A57C-B16148752F21}">
      <dgm:prSet/>
      <dgm:spPr/>
      <dgm:t>
        <a:bodyPr/>
        <a:lstStyle/>
        <a:p>
          <a:r>
            <a:rPr lang="es-CO" dirty="0" smtClean="0"/>
            <a:t>Aprobación Estudios de Trazado y Diseño Geométrico – En revisión</a:t>
          </a:r>
          <a:endParaRPr lang="es-CO" dirty="0"/>
        </a:p>
      </dgm:t>
    </dgm:pt>
    <dgm:pt modelId="{F66ED610-B589-4473-B7F9-6F8D7C9FB927}" type="parTrans" cxnId="{0DA2D19B-5793-49D4-9F91-1A9404310EAE}">
      <dgm:prSet/>
      <dgm:spPr/>
      <dgm:t>
        <a:bodyPr/>
        <a:lstStyle/>
        <a:p>
          <a:endParaRPr lang="es-CO"/>
        </a:p>
      </dgm:t>
    </dgm:pt>
    <dgm:pt modelId="{3DF7A624-FA50-4D78-8C57-D5A06DD4646D}" type="sibTrans" cxnId="{0DA2D19B-5793-49D4-9F91-1A9404310EAE}">
      <dgm:prSet/>
      <dgm:spPr/>
      <dgm:t>
        <a:bodyPr/>
        <a:lstStyle/>
        <a:p>
          <a:endParaRPr lang="es-CO"/>
        </a:p>
      </dgm:t>
    </dgm:pt>
    <dgm:pt modelId="{40D98122-B436-49B0-8550-B556643117C1}">
      <dgm:prSet/>
      <dgm:spPr/>
      <dgm:t>
        <a:bodyPr/>
        <a:lstStyle/>
        <a:p>
          <a:r>
            <a:rPr lang="es-CO" dirty="0" smtClean="0"/>
            <a:t>Aprobación Estudios de Detalle de las 4 Unidades Funcionales del Proyecto. – En revisión</a:t>
          </a:r>
          <a:endParaRPr lang="es-CO" dirty="0"/>
        </a:p>
      </dgm:t>
    </dgm:pt>
    <dgm:pt modelId="{D38BF91B-59F3-47DE-A82F-21E995C366AB}" type="parTrans" cxnId="{D941C662-26B4-4BA5-8292-07EC8529F6DB}">
      <dgm:prSet/>
      <dgm:spPr/>
      <dgm:t>
        <a:bodyPr/>
        <a:lstStyle/>
        <a:p>
          <a:endParaRPr lang="es-CO"/>
        </a:p>
      </dgm:t>
    </dgm:pt>
    <dgm:pt modelId="{CF8B6926-17D7-4579-B2BB-3D14376812B0}" type="sibTrans" cxnId="{D941C662-26B4-4BA5-8292-07EC8529F6DB}">
      <dgm:prSet/>
      <dgm:spPr/>
      <dgm:t>
        <a:bodyPr/>
        <a:lstStyle/>
        <a:p>
          <a:endParaRPr lang="es-CO"/>
        </a:p>
      </dgm:t>
    </dgm:pt>
    <dgm:pt modelId="{90760DBB-2166-414C-82CC-981DFBA121F6}">
      <dgm:prSet/>
      <dgm:spPr/>
      <dgm:t>
        <a:bodyPr/>
        <a:lstStyle/>
        <a:p>
          <a:r>
            <a:rPr lang="es-CO" dirty="0" smtClean="0"/>
            <a:t>Mantenimiento y operación de la vía existente – En ejecución</a:t>
          </a:r>
          <a:endParaRPr lang="es-CO" dirty="0"/>
        </a:p>
      </dgm:t>
    </dgm:pt>
    <dgm:pt modelId="{D9A8AB94-CDD9-4147-9883-25A13C0C1FF9}" type="parTrans" cxnId="{114A2251-B25C-4B59-B514-2BE75E5023C7}">
      <dgm:prSet/>
      <dgm:spPr/>
      <dgm:t>
        <a:bodyPr/>
        <a:lstStyle/>
        <a:p>
          <a:endParaRPr lang="es-CO"/>
        </a:p>
      </dgm:t>
    </dgm:pt>
    <dgm:pt modelId="{34EE5B3A-ED84-43BA-86CD-FA6567702388}" type="sibTrans" cxnId="{114A2251-B25C-4B59-B514-2BE75E5023C7}">
      <dgm:prSet/>
      <dgm:spPr/>
      <dgm:t>
        <a:bodyPr/>
        <a:lstStyle/>
        <a:p>
          <a:endParaRPr lang="es-CO"/>
        </a:p>
      </dgm:t>
    </dgm:pt>
    <dgm:pt modelId="{11F322E9-786E-4B25-A6D1-B7937A091078}">
      <dgm:prSet/>
      <dgm:spPr/>
      <dgm:t>
        <a:bodyPr/>
        <a:lstStyle/>
        <a:p>
          <a:r>
            <a:rPr lang="es-CO" dirty="0" smtClean="0"/>
            <a:t>Cierre Financiero – 13-jul-2016</a:t>
          </a:r>
          <a:endParaRPr lang="es-CO" dirty="0"/>
        </a:p>
      </dgm:t>
    </dgm:pt>
    <dgm:pt modelId="{01E46710-5689-46AD-8EA3-250C0AC42555}" type="parTrans" cxnId="{FEC67291-6200-4E9C-9501-86271D9E605F}">
      <dgm:prSet/>
      <dgm:spPr/>
      <dgm:t>
        <a:bodyPr/>
        <a:lstStyle/>
        <a:p>
          <a:endParaRPr lang="es-CO"/>
        </a:p>
      </dgm:t>
    </dgm:pt>
    <dgm:pt modelId="{7F9FA074-7C83-47C9-9127-AF11A789DB38}" type="sibTrans" cxnId="{FEC67291-6200-4E9C-9501-86271D9E605F}">
      <dgm:prSet/>
      <dgm:spPr/>
      <dgm:t>
        <a:bodyPr/>
        <a:lstStyle/>
        <a:p>
          <a:endParaRPr lang="es-CO"/>
        </a:p>
      </dgm:t>
    </dgm:pt>
    <dgm:pt modelId="{EB4D258A-E058-48F8-88CF-17DCD76AA5C0}">
      <dgm:prSet/>
      <dgm:spPr/>
      <dgm:t>
        <a:bodyPr/>
        <a:lstStyle/>
        <a:p>
          <a:r>
            <a:rPr lang="es-CO" dirty="0" smtClean="0"/>
            <a:t>Inicio construcción de la obra – 28-ago-2016</a:t>
          </a:r>
          <a:endParaRPr lang="es-CO" dirty="0"/>
        </a:p>
      </dgm:t>
    </dgm:pt>
    <dgm:pt modelId="{5F2460F6-D1A7-4E67-A5B0-8A78B796105B}" type="parTrans" cxnId="{6E189E7E-CEB7-44DF-9859-A66AD95E90A9}">
      <dgm:prSet/>
      <dgm:spPr/>
      <dgm:t>
        <a:bodyPr/>
        <a:lstStyle/>
        <a:p>
          <a:endParaRPr lang="es-CO"/>
        </a:p>
      </dgm:t>
    </dgm:pt>
    <dgm:pt modelId="{E5FC7C9D-7C53-4FBE-9EA3-D13F1E26C125}" type="sibTrans" cxnId="{6E189E7E-CEB7-44DF-9859-A66AD95E90A9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3984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7019" custLinFactNeighborY="-174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14A2251-B25C-4B59-B514-2BE75E5023C7}" srcId="{3256AD19-79D9-4DD2-BD85-48D74080CB17}" destId="{90760DBB-2166-414C-82CC-981DFBA121F6}" srcOrd="4" destOrd="0" parTransId="{D9A8AB94-CDD9-4147-9883-25A13C0C1FF9}" sibTransId="{34EE5B3A-ED84-43BA-86CD-FA6567702388}"/>
    <dgm:cxn modelId="{F2B6146E-A03E-4D79-B628-F292057A4A19}" type="presOf" srcId="{40D98122-B436-49B0-8550-B556643117C1}" destId="{AB09D624-FF1B-4987-8110-30D214096F41}" srcOrd="0" destOrd="3" presId="urn:microsoft.com/office/officeart/2005/8/layout/hList1"/>
    <dgm:cxn modelId="{6E189E7E-CEB7-44DF-9859-A66AD95E90A9}" srcId="{3256AD19-79D9-4DD2-BD85-48D74080CB17}" destId="{EB4D258A-E058-48F8-88CF-17DCD76AA5C0}" srcOrd="6" destOrd="0" parTransId="{5F2460F6-D1A7-4E67-A5B0-8A78B796105B}" sibTransId="{E5FC7C9D-7C53-4FBE-9EA3-D13F1E26C125}"/>
    <dgm:cxn modelId="{0DA2D19B-5793-49D4-9F91-1A9404310EAE}" srcId="{3256AD19-79D9-4DD2-BD85-48D74080CB17}" destId="{D821B9A7-BD36-47E7-A57C-B16148752F21}" srcOrd="2" destOrd="0" parTransId="{F66ED610-B589-4473-B7F9-6F8D7C9FB927}" sibTransId="{3DF7A624-FA50-4D78-8C57-D5A06DD4646D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FEC67291-6200-4E9C-9501-86271D9E605F}" srcId="{3256AD19-79D9-4DD2-BD85-48D74080CB17}" destId="{11F322E9-786E-4B25-A6D1-B7937A091078}" srcOrd="5" destOrd="0" parTransId="{01E46710-5689-46AD-8EA3-250C0AC42555}" sibTransId="{7F9FA074-7C83-47C9-9127-AF11A789DB38}"/>
    <dgm:cxn modelId="{7FD0C030-29A8-4A3B-8D65-64AFD9775D6C}" type="presOf" srcId="{3256AD19-79D9-4DD2-BD85-48D74080CB17}" destId="{FFC2669E-6EFE-4306-9BF4-0E6FE39D4B43}" srcOrd="0" destOrd="0" presId="urn:microsoft.com/office/officeart/2005/8/layout/hList1"/>
    <dgm:cxn modelId="{AD228941-7708-44E0-87DF-6DC7C4D2A860}" srcId="{3256AD19-79D9-4DD2-BD85-48D74080CB17}" destId="{0D9380B7-E368-4ACE-B528-88A2CCA89127}" srcOrd="1" destOrd="0" parTransId="{B140F4C8-F6B5-46B9-A5B6-F5CD3A3ADE72}" sibTransId="{F7504B49-346C-40AE-8F72-A7A65FF4F128}"/>
    <dgm:cxn modelId="{5F5A6A50-C6F3-4C0C-BE25-A0C732A0CB26}" type="presOf" srcId="{D821B9A7-BD36-47E7-A57C-B16148752F21}" destId="{AB09D624-FF1B-4987-8110-30D214096F41}" srcOrd="0" destOrd="2" presId="urn:microsoft.com/office/officeart/2005/8/layout/hList1"/>
    <dgm:cxn modelId="{EEC5306D-143B-4DBA-B36E-70184460D3B8}" type="presOf" srcId="{90760DBB-2166-414C-82CC-981DFBA121F6}" destId="{AB09D624-FF1B-4987-8110-30D214096F41}" srcOrd="0" destOrd="4" presId="urn:microsoft.com/office/officeart/2005/8/layout/hList1"/>
    <dgm:cxn modelId="{1FB439E7-C441-43EF-8826-EDB260C1B818}" type="presOf" srcId="{11F322E9-786E-4B25-A6D1-B7937A091078}" destId="{AB09D624-FF1B-4987-8110-30D214096F41}" srcOrd="0" destOrd="5" presId="urn:microsoft.com/office/officeart/2005/8/layout/hList1"/>
    <dgm:cxn modelId="{CCD5AFF6-4625-4E98-BD53-EAB6E6853001}" type="presOf" srcId="{0D9380B7-E368-4ACE-B528-88A2CCA89127}" destId="{AB09D624-FF1B-4987-8110-30D214096F41}" srcOrd="0" destOrd="1" presId="urn:microsoft.com/office/officeart/2005/8/layout/hList1"/>
    <dgm:cxn modelId="{CBBD28F8-8D1E-4326-8FBD-86AC59141D58}" type="presOf" srcId="{62D32E80-FEA0-48C5-B4F3-D3A7B382CF4D}" destId="{AB09D624-FF1B-4987-8110-30D214096F41}" srcOrd="0" destOrd="0" presId="urn:microsoft.com/office/officeart/2005/8/layout/hList1"/>
    <dgm:cxn modelId="{AB114CF2-3E5D-408F-94EC-8014E058C149}" type="presOf" srcId="{EB4D258A-E058-48F8-88CF-17DCD76AA5C0}" destId="{AB09D624-FF1B-4987-8110-30D214096F41}" srcOrd="0" destOrd="6" presId="urn:microsoft.com/office/officeart/2005/8/layout/hList1"/>
    <dgm:cxn modelId="{D3E3434B-AEC0-414B-8E5A-43E35CFADE83}" type="presOf" srcId="{CF84DDC2-96BF-432F-AA37-B7281110F630}" destId="{351DADD5-826D-416B-84E5-26678C386891}" srcOrd="0" destOrd="0" presId="urn:microsoft.com/office/officeart/2005/8/layout/hList1"/>
    <dgm:cxn modelId="{D941C662-26B4-4BA5-8292-07EC8529F6DB}" srcId="{3256AD19-79D9-4DD2-BD85-48D74080CB17}" destId="{40D98122-B436-49B0-8550-B556643117C1}" srcOrd="3" destOrd="0" parTransId="{D38BF91B-59F3-47DE-A82F-21E995C366AB}" sibTransId="{CF8B6926-17D7-4579-B2BB-3D14376812B0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B801E6BE-75E1-4508-AAB2-26E106BC45D3}" type="presParOf" srcId="{351DADD5-826D-416B-84E5-26678C386891}" destId="{78A07495-0AF3-45E3-8386-C0DF5FF5E438}" srcOrd="0" destOrd="0" presId="urn:microsoft.com/office/officeart/2005/8/layout/hList1"/>
    <dgm:cxn modelId="{4E8685B6-680F-4FFC-8944-CD03A7237E6C}" type="presParOf" srcId="{78A07495-0AF3-45E3-8386-C0DF5FF5E438}" destId="{FFC2669E-6EFE-4306-9BF4-0E6FE39D4B43}" srcOrd="0" destOrd="0" presId="urn:microsoft.com/office/officeart/2005/8/layout/hList1"/>
    <dgm:cxn modelId="{E6136FE7-D3DF-43CE-828C-819F922B57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Calzada nueva: 80 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D98AEEF3-B635-4787-A4BF-378D427539E8}">
      <dgm:prSet phldrT="[Texto]"/>
      <dgm:spPr/>
      <dgm:t>
        <a:bodyPr/>
        <a:lstStyle/>
        <a:p>
          <a:r>
            <a:rPr lang="es-MX" dirty="0" smtClean="0"/>
            <a:t>Calzada existente: 75km</a:t>
          </a:r>
          <a:endParaRPr lang="es-CO" dirty="0"/>
        </a:p>
      </dgm:t>
    </dgm:pt>
    <dgm:pt modelId="{B6E26C97-9E64-4403-8EA3-A53AB9E0B21F}" type="parTrans" cxnId="{044EC70E-CE2D-4E41-A859-3790F0B6745C}">
      <dgm:prSet/>
      <dgm:spPr/>
      <dgm:t>
        <a:bodyPr/>
        <a:lstStyle/>
        <a:p>
          <a:endParaRPr lang="es-CO"/>
        </a:p>
      </dgm:t>
    </dgm:pt>
    <dgm:pt modelId="{11AF8E69-3252-46A2-A0F0-59CC255B6ED1}" type="sibTrans" cxnId="{044EC70E-CE2D-4E41-A859-3790F0B6745C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EE3E271-A512-4D17-945C-9E0102057C6E}" type="presOf" srcId="{CF84DDC2-96BF-432F-AA37-B7281110F630}" destId="{351DADD5-826D-416B-84E5-26678C386891}" srcOrd="0" destOrd="0" presId="urn:microsoft.com/office/officeart/2005/8/layout/hList1"/>
    <dgm:cxn modelId="{AB8FC948-4D7F-4C66-BCAE-0EE06D50B39E}" type="presOf" srcId="{62D32E80-FEA0-48C5-B4F3-D3A7B382CF4D}" destId="{AB09D624-FF1B-4987-8110-30D214096F41}" srcOrd="0" destOrd="0" presId="urn:microsoft.com/office/officeart/2005/8/layout/hList1"/>
    <dgm:cxn modelId="{044EC70E-CE2D-4E41-A859-3790F0B6745C}" srcId="{3256AD19-79D9-4DD2-BD85-48D74080CB17}" destId="{D98AEEF3-B635-4787-A4BF-378D427539E8}" srcOrd="1" destOrd="0" parTransId="{B6E26C97-9E64-4403-8EA3-A53AB9E0B21F}" sibTransId="{11AF8E69-3252-46A2-A0F0-59CC255B6ED1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8D02CD9-AFB9-42E8-B62D-B97F856B72A6}" type="presOf" srcId="{D98AEEF3-B635-4787-A4BF-378D427539E8}" destId="{AB09D624-FF1B-4987-8110-30D214096F41}" srcOrd="0" destOrd="1" presId="urn:microsoft.com/office/officeart/2005/8/layout/hList1"/>
    <dgm:cxn modelId="{D314F44A-EB2C-4ECA-844C-3572DEF97AE3}" type="presOf" srcId="{3256AD19-79D9-4DD2-BD85-48D74080CB17}" destId="{FFC2669E-6EFE-4306-9BF4-0E6FE39D4B43}" srcOrd="0" destOrd="0" presId="urn:microsoft.com/office/officeart/2005/8/layout/hList1"/>
    <dgm:cxn modelId="{70774D88-1076-44DC-85BF-BD58F42C92E2}" type="presParOf" srcId="{351DADD5-826D-416B-84E5-26678C386891}" destId="{78A07495-0AF3-45E3-8386-C0DF5FF5E438}" srcOrd="0" destOrd="0" presId="urn:microsoft.com/office/officeart/2005/8/layout/hList1"/>
    <dgm:cxn modelId="{361BF95C-8083-4BAB-B6F6-F4CC990F824C}" type="presParOf" srcId="{78A07495-0AF3-45E3-8386-C0DF5FF5E438}" destId="{FFC2669E-6EFE-4306-9BF4-0E6FE39D4B43}" srcOrd="0" destOrd="0" presId="urn:microsoft.com/office/officeart/2005/8/layout/hList1"/>
    <dgm:cxn modelId="{2F9DF994-73DD-4864-AC27-546B27D114CB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Vía nueva: 18.88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42FBEB92-B3CA-4C72-9420-666AABE6EE33}">
      <dgm:prSet phldrT="[Texto]"/>
      <dgm:spPr/>
      <dgm:t>
        <a:bodyPr/>
        <a:lstStyle/>
        <a:p>
          <a:r>
            <a:rPr lang="es-MX" dirty="0" smtClean="0"/>
            <a:t>Vía existente: </a:t>
          </a:r>
          <a:r>
            <a:rPr lang="es-CO" dirty="0" smtClean="0"/>
            <a:t>17.88 km</a:t>
          </a:r>
          <a:endParaRPr lang="es-CO" dirty="0"/>
        </a:p>
      </dgm:t>
    </dgm:pt>
    <dgm:pt modelId="{73D2CD9B-90B6-4437-B857-8777CC3AF4C4}" type="parTrans" cxnId="{ED943EF3-54B3-43E9-BFF3-FABEBB72E131}">
      <dgm:prSet/>
      <dgm:spPr/>
      <dgm:t>
        <a:bodyPr/>
        <a:lstStyle/>
        <a:p>
          <a:endParaRPr lang="es-CO"/>
        </a:p>
      </dgm:t>
    </dgm:pt>
    <dgm:pt modelId="{024FD738-19C7-471D-A32B-E68B0D210A74}" type="sibTrans" cxnId="{ED943EF3-54B3-43E9-BFF3-FABEBB72E131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093" custLinFactNeighborY="169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4602B3F-65F4-41A0-81BD-4FCF4C925747}" type="presOf" srcId="{62D32E80-FEA0-48C5-B4F3-D3A7B382CF4D}" destId="{AB09D624-FF1B-4987-8110-30D214096F41}" srcOrd="0" destOrd="0" presId="urn:microsoft.com/office/officeart/2005/8/layout/hList1"/>
    <dgm:cxn modelId="{C0DFC3C8-8670-42AC-B0CC-7E574A47833C}" type="presOf" srcId="{3256AD19-79D9-4DD2-BD85-48D74080CB17}" destId="{FFC2669E-6EFE-4306-9BF4-0E6FE39D4B43}" srcOrd="0" destOrd="0" presId="urn:microsoft.com/office/officeart/2005/8/layout/hList1"/>
    <dgm:cxn modelId="{6722BE71-D9AA-49BA-A726-ADD99C0B68D6}" type="presOf" srcId="{42FBEB92-B3CA-4C72-9420-666AABE6EE33}" destId="{AB09D624-FF1B-4987-8110-30D214096F41}" srcOrd="0" destOrd="1" presId="urn:microsoft.com/office/officeart/2005/8/layout/hList1"/>
    <dgm:cxn modelId="{ED943EF3-54B3-43E9-BFF3-FABEBB72E131}" srcId="{3256AD19-79D9-4DD2-BD85-48D74080CB17}" destId="{42FBEB92-B3CA-4C72-9420-666AABE6EE33}" srcOrd="1" destOrd="0" parTransId="{73D2CD9B-90B6-4437-B857-8777CC3AF4C4}" sibTransId="{024FD738-19C7-471D-A32B-E68B0D210A74}"/>
    <dgm:cxn modelId="{538B9567-4ECF-4D81-9A5D-8326D33A8833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606E5595-6320-4029-8D67-5D03443DF4FF}" type="presParOf" srcId="{351DADD5-826D-416B-84E5-26678C386891}" destId="{78A07495-0AF3-45E3-8386-C0DF5FF5E438}" srcOrd="0" destOrd="0" presId="urn:microsoft.com/office/officeart/2005/8/layout/hList1"/>
    <dgm:cxn modelId="{BA65ACDF-0C76-4C13-9019-1879B284ABEA}" type="presParOf" srcId="{78A07495-0AF3-45E3-8386-C0DF5FF5E438}" destId="{FFC2669E-6EFE-4306-9BF4-0E6FE39D4B43}" srcOrd="0" destOrd="0" presId="urn:microsoft.com/office/officeart/2005/8/layout/hList1"/>
    <dgm:cxn modelId="{03FC9403-2B44-4528-9D21-96B1A55B838C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1800" dirty="0" smtClean="0"/>
            <a:t>METAS</a:t>
          </a:r>
          <a:endParaRPr lang="es-CO" sz="18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DB5BD393-C233-444F-A948-193415E1B511}">
      <dgm:prSet phldrT="[Texto]"/>
      <dgm:spPr/>
      <dgm:t>
        <a:bodyPr/>
        <a:lstStyle/>
        <a:p>
          <a:r>
            <a:rPr lang="es-CO" dirty="0" smtClean="0"/>
            <a:t>Unidad Funcional 4 – (Mejoramiento) - 6,610 KM</a:t>
          </a:r>
          <a:endParaRPr lang="es-CO" dirty="0"/>
        </a:p>
      </dgm:t>
    </dgm:pt>
    <dgm:pt modelId="{5EA9CB25-8DD6-47AF-8E21-8DD8CDBD92D7}" type="parTrans" cxnId="{A774BF85-5C05-437F-9F4D-48B3FDA41FF9}">
      <dgm:prSet/>
      <dgm:spPr/>
      <dgm:t>
        <a:bodyPr/>
        <a:lstStyle/>
        <a:p>
          <a:endParaRPr lang="es-ES"/>
        </a:p>
      </dgm:t>
    </dgm:pt>
    <dgm:pt modelId="{843EE6C7-2318-4DE3-A99F-B3BF71110567}" type="sibTrans" cxnId="{A774BF85-5C05-437F-9F4D-48B3FDA41FF9}">
      <dgm:prSet/>
      <dgm:spPr/>
      <dgm:t>
        <a:bodyPr/>
        <a:lstStyle/>
        <a:p>
          <a:endParaRPr lang="es-ES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Unidad Funcional 1 –(Mejoramiento)  -1,897 KM</a:t>
          </a:r>
          <a:endParaRPr lang="es-CO" dirty="0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5EEB4325-FFC6-4765-A33A-CBD84FD1072F}">
      <dgm:prSet phldrT="[Texto]"/>
      <dgm:spPr/>
      <dgm:t>
        <a:bodyPr/>
        <a:lstStyle/>
        <a:p>
          <a:endParaRPr lang="es-CO" dirty="0"/>
        </a:p>
      </dgm:t>
    </dgm:pt>
    <dgm:pt modelId="{888C1AB5-5142-46F5-97FB-8BC2025852F1}" type="parTrans" cxnId="{11959461-CBE7-4C72-935F-2778F365101C}">
      <dgm:prSet/>
      <dgm:spPr/>
      <dgm:t>
        <a:bodyPr/>
        <a:lstStyle/>
        <a:p>
          <a:endParaRPr lang="es-CO"/>
        </a:p>
      </dgm:t>
    </dgm:pt>
    <dgm:pt modelId="{51FFFC1A-D4F0-459C-9105-972C6F0E2B06}" type="sibTrans" cxnId="{11959461-CBE7-4C72-935F-2778F365101C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25469" custLinFactNeighborY="-731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360CB31-0136-4786-BEBC-70D0BA227C5B}" type="presOf" srcId="{3256AD19-79D9-4DD2-BD85-48D74080CB17}" destId="{FFC2669E-6EFE-4306-9BF4-0E6FE39D4B43}" srcOrd="0" destOrd="0" presId="urn:microsoft.com/office/officeart/2005/8/layout/hList1"/>
    <dgm:cxn modelId="{AB67F818-B499-4477-9E14-C6D72B6A254A}" type="presOf" srcId="{DB5BD393-C233-444F-A948-193415E1B511}" destId="{AB09D624-FF1B-4987-8110-30D214096F41}" srcOrd="0" destOrd="2" presId="urn:microsoft.com/office/officeart/2005/8/layout/hList1"/>
    <dgm:cxn modelId="{A774BF85-5C05-437F-9F4D-48B3FDA41FF9}" srcId="{3256AD19-79D9-4DD2-BD85-48D74080CB17}" destId="{DB5BD393-C233-444F-A948-193415E1B511}" srcOrd="2" destOrd="0" parTransId="{5EA9CB25-8DD6-47AF-8E21-8DD8CDBD92D7}" sibTransId="{843EE6C7-2318-4DE3-A99F-B3BF71110567}"/>
    <dgm:cxn modelId="{5C909E27-93F4-469D-A5BE-8F9FFD61421F}" type="presOf" srcId="{CF84DDC2-96BF-432F-AA37-B7281110F630}" destId="{351DADD5-826D-416B-84E5-26678C386891}" srcOrd="0" destOrd="0" presId="urn:microsoft.com/office/officeart/2005/8/layout/hList1"/>
    <dgm:cxn modelId="{11959461-CBE7-4C72-935F-2778F365101C}" srcId="{3256AD19-79D9-4DD2-BD85-48D74080CB17}" destId="{5EEB4325-FFC6-4765-A33A-CBD84FD1072F}" srcOrd="1" destOrd="0" parTransId="{888C1AB5-5142-46F5-97FB-8BC2025852F1}" sibTransId="{51FFFC1A-D4F0-459C-9105-972C6F0E2B06}"/>
    <dgm:cxn modelId="{750AD429-237D-4748-A4EE-F960A4556B48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0B25A55D-84E7-498E-9520-58EFAE2F74C4}" type="presOf" srcId="{5EEB4325-FFC6-4765-A33A-CBD84FD1072F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BCD0F88E-AD25-4E8A-9B37-B3701A4A1572}" type="presParOf" srcId="{351DADD5-826D-416B-84E5-26678C386891}" destId="{78A07495-0AF3-45E3-8386-C0DF5FF5E438}" srcOrd="0" destOrd="0" presId="urn:microsoft.com/office/officeart/2005/8/layout/hList1"/>
    <dgm:cxn modelId="{7BA6077A-7C57-4D31-B7CB-70383AFD4E15}" type="presParOf" srcId="{78A07495-0AF3-45E3-8386-C0DF5FF5E438}" destId="{FFC2669E-6EFE-4306-9BF4-0E6FE39D4B43}" srcOrd="0" destOrd="0" presId="urn:microsoft.com/office/officeart/2005/8/layout/hList1"/>
    <dgm:cxn modelId="{596F1A5C-D57B-4466-A051-CF0A63261D80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1800" dirty="0" smtClean="0"/>
            <a:t>AVANCES</a:t>
          </a:r>
          <a:endParaRPr lang="es-CO" sz="18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/>
            <a:t>Unidad Funcional 1 –(Mejoramiento)  - 00 KM</a:t>
          </a:r>
          <a:endParaRPr lang="es-CO" dirty="0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7EFB51E1-175C-42CE-B1BA-B7E43437FF5F}">
      <dgm:prSet/>
      <dgm:spPr/>
      <dgm:t>
        <a:bodyPr/>
        <a:lstStyle/>
        <a:p>
          <a:r>
            <a:rPr lang="es-CO" dirty="0" smtClean="0"/>
            <a:t>Unidad Funcional 4 – (Mejoramiento)  - 00 KM</a:t>
          </a:r>
        </a:p>
      </dgm:t>
    </dgm:pt>
    <dgm:pt modelId="{09FD271F-331B-4FA3-B63F-6FB3FF1528B6}" type="parTrans" cxnId="{2A86A3CA-9C17-4842-B1B0-BB635D8BA4DB}">
      <dgm:prSet/>
      <dgm:spPr/>
      <dgm:t>
        <a:bodyPr/>
        <a:lstStyle/>
        <a:p>
          <a:endParaRPr lang="es-CO"/>
        </a:p>
      </dgm:t>
    </dgm:pt>
    <dgm:pt modelId="{83AE7786-F84A-470C-9ADC-68B8F0AC95EA}" type="sibTrans" cxnId="{2A86A3CA-9C17-4842-B1B0-BB635D8BA4DB}">
      <dgm:prSet/>
      <dgm:spPr/>
      <dgm:t>
        <a:bodyPr/>
        <a:lstStyle/>
        <a:p>
          <a:endParaRPr lang="es-CO"/>
        </a:p>
      </dgm:t>
    </dgm:pt>
    <dgm:pt modelId="{FC1CC5E9-78E2-46FE-9F59-BEB2317284F8}">
      <dgm:prSet phldrT="[Texto]"/>
      <dgm:spPr/>
      <dgm:t>
        <a:bodyPr/>
        <a:lstStyle/>
        <a:p>
          <a:endParaRPr lang="es-CO" dirty="0"/>
        </a:p>
      </dgm:t>
    </dgm:pt>
    <dgm:pt modelId="{D3C09975-BC92-4364-AC39-AA9D4DE67016}" type="parTrans" cxnId="{274942F3-D7B1-4C4B-8392-D7EE57BFB192}">
      <dgm:prSet/>
      <dgm:spPr/>
      <dgm:t>
        <a:bodyPr/>
        <a:lstStyle/>
        <a:p>
          <a:endParaRPr lang="es-CO"/>
        </a:p>
      </dgm:t>
    </dgm:pt>
    <dgm:pt modelId="{6AB4E21C-3D0A-4591-9999-C36245634381}" type="sibTrans" cxnId="{274942F3-D7B1-4C4B-8392-D7EE57BFB192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341" custLinFactNeighborY="-313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70B46F37-7094-49E8-AA2D-E0CCE6993FFD}" type="presOf" srcId="{7EFB51E1-175C-42CE-B1BA-B7E43437FF5F}" destId="{AB09D624-FF1B-4987-8110-30D214096F41}" srcOrd="0" destOrd="2" presId="urn:microsoft.com/office/officeart/2005/8/layout/hList1"/>
    <dgm:cxn modelId="{2A86A3CA-9C17-4842-B1B0-BB635D8BA4DB}" srcId="{3256AD19-79D9-4DD2-BD85-48D74080CB17}" destId="{7EFB51E1-175C-42CE-B1BA-B7E43437FF5F}" srcOrd="2" destOrd="0" parTransId="{09FD271F-331B-4FA3-B63F-6FB3FF1528B6}" sibTransId="{83AE7786-F84A-470C-9ADC-68B8F0AC95EA}"/>
    <dgm:cxn modelId="{BDB55CED-237D-4F2A-8B45-9182FE3FBF7A}" type="presOf" srcId="{3256AD19-79D9-4DD2-BD85-48D74080CB17}" destId="{FFC2669E-6EFE-4306-9BF4-0E6FE39D4B43}" srcOrd="0" destOrd="0" presId="urn:microsoft.com/office/officeart/2005/8/layout/hList1"/>
    <dgm:cxn modelId="{C236FB13-0E11-453F-A6E1-695CFC4B573C}" type="presOf" srcId="{62D32E80-FEA0-48C5-B4F3-D3A7B382CF4D}" destId="{AB09D624-FF1B-4987-8110-30D214096F41}" srcOrd="0" destOrd="0" presId="urn:microsoft.com/office/officeart/2005/8/layout/hList1"/>
    <dgm:cxn modelId="{34E1D309-BC98-42CA-8038-F08091AD5446}" type="presOf" srcId="{CF84DDC2-96BF-432F-AA37-B7281110F630}" destId="{351DADD5-826D-416B-84E5-26678C386891}" srcOrd="0" destOrd="0" presId="urn:microsoft.com/office/officeart/2005/8/layout/hList1"/>
    <dgm:cxn modelId="{FFDC0A75-E84B-46AB-B437-214B11D6A295}" type="presOf" srcId="{FC1CC5E9-78E2-46FE-9F59-BEB2317284F8}" destId="{AB09D624-FF1B-4987-8110-30D214096F41}" srcOrd="0" destOrd="1" presId="urn:microsoft.com/office/officeart/2005/8/layout/hList1"/>
    <dgm:cxn modelId="{274942F3-D7B1-4C4B-8392-D7EE57BFB192}" srcId="{3256AD19-79D9-4DD2-BD85-48D74080CB17}" destId="{FC1CC5E9-78E2-46FE-9F59-BEB2317284F8}" srcOrd="1" destOrd="0" parTransId="{D3C09975-BC92-4364-AC39-AA9D4DE67016}" sibTransId="{6AB4E21C-3D0A-4591-9999-C36245634381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31134908-A2AD-4BE6-B717-FDB6D6DDFDA1}" type="presParOf" srcId="{351DADD5-826D-416B-84E5-26678C386891}" destId="{78A07495-0AF3-45E3-8386-C0DF5FF5E438}" srcOrd="0" destOrd="0" presId="urn:microsoft.com/office/officeart/2005/8/layout/hList1"/>
    <dgm:cxn modelId="{48FF4E83-618B-47F6-9BEC-3353EEAC825F}" type="presParOf" srcId="{78A07495-0AF3-45E3-8386-C0DF5FF5E438}" destId="{FFC2669E-6EFE-4306-9BF4-0E6FE39D4B43}" srcOrd="0" destOrd="0" presId="urn:microsoft.com/office/officeart/2005/8/layout/hList1"/>
    <dgm:cxn modelId="{37FF9CE2-0361-4AC6-9518-509928BA355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000" b="1" dirty="0" smtClean="0"/>
            <a:t>Metas 2016</a:t>
          </a:r>
          <a:endParaRPr lang="es-CO" sz="2000" b="1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endParaRPr lang="es-CO" sz="8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9B6697C5-748C-4784-B4C3-CD848AFB1CDB}">
      <dgm:prSet phldrT="[Texto]" custT="1"/>
      <dgm:spPr/>
      <dgm:t>
        <a:bodyPr/>
        <a:lstStyle/>
        <a:p>
          <a:endParaRPr lang="es-CO" sz="2000" b="0" dirty="0"/>
        </a:p>
      </dgm:t>
    </dgm:pt>
    <dgm:pt modelId="{1A2630A8-5F0D-4C33-9068-2B26DB517175}" type="parTrans" cxnId="{70536492-0E53-4007-97CE-2774975CD5F1}">
      <dgm:prSet/>
      <dgm:spPr/>
      <dgm:t>
        <a:bodyPr/>
        <a:lstStyle/>
        <a:p>
          <a:endParaRPr lang="es-CO"/>
        </a:p>
      </dgm:t>
    </dgm:pt>
    <dgm:pt modelId="{7C8EACFF-FD3E-4B92-8B2C-AD708B3D4A45}" type="sibTrans" cxnId="{70536492-0E53-4007-97CE-2774975CD5F1}">
      <dgm:prSet/>
      <dgm:spPr/>
      <dgm:t>
        <a:bodyPr/>
        <a:lstStyle/>
        <a:p>
          <a:endParaRPr lang="es-CO"/>
        </a:p>
      </dgm:t>
    </dgm:pt>
    <dgm:pt modelId="{3CEE575A-F9B9-4E14-8022-36B7658C25EA}">
      <dgm:prSet phldrT="[Texto]" custT="1"/>
      <dgm:spPr/>
      <dgm:t>
        <a:bodyPr/>
        <a:lstStyle/>
        <a:p>
          <a:endParaRPr lang="es-CO" sz="2000" dirty="0"/>
        </a:p>
      </dgm:t>
    </dgm:pt>
    <dgm:pt modelId="{B9DC1293-DB75-457B-8CA0-245D2A3ADCDD}" type="parTrans" cxnId="{E7F48DBF-C277-4259-8AB7-956D963CD02A}">
      <dgm:prSet/>
      <dgm:spPr/>
      <dgm:t>
        <a:bodyPr/>
        <a:lstStyle/>
        <a:p>
          <a:endParaRPr lang="es-CO"/>
        </a:p>
      </dgm:t>
    </dgm:pt>
    <dgm:pt modelId="{C0C94BDD-E2C1-4279-A17F-C19A7954400C}" type="sibTrans" cxnId="{E7F48DBF-C277-4259-8AB7-956D963CD02A}">
      <dgm:prSet/>
      <dgm:spPr/>
      <dgm:t>
        <a:bodyPr/>
        <a:lstStyle/>
        <a:p>
          <a:endParaRPr lang="es-CO"/>
        </a:p>
      </dgm:t>
    </dgm:pt>
    <dgm:pt modelId="{7203B8CA-D3C3-4D6F-BC39-C80E9282EE0E}">
      <dgm:prSet phldrT="[Texto]" custT="1"/>
      <dgm:spPr/>
      <dgm:t>
        <a:bodyPr/>
        <a:lstStyle/>
        <a:p>
          <a:endParaRPr lang="es-CO" sz="2000" dirty="0"/>
        </a:p>
      </dgm:t>
    </dgm:pt>
    <dgm:pt modelId="{4F8F0F5F-AC7D-4D29-92A7-11DEC45166E3}" type="parTrans" cxnId="{91B82E1B-5584-4532-B34D-34305A94846C}">
      <dgm:prSet/>
      <dgm:spPr/>
      <dgm:t>
        <a:bodyPr/>
        <a:lstStyle/>
        <a:p>
          <a:endParaRPr lang="es-CO"/>
        </a:p>
      </dgm:t>
    </dgm:pt>
    <dgm:pt modelId="{E11D0EC4-9B44-480D-ACAD-C3C135CF5A91}" type="sibTrans" cxnId="{91B82E1B-5584-4532-B34D-34305A94846C}">
      <dgm:prSet/>
      <dgm:spPr/>
      <dgm:t>
        <a:bodyPr/>
        <a:lstStyle/>
        <a:p>
          <a:endParaRPr lang="es-CO"/>
        </a:p>
      </dgm:t>
    </dgm:pt>
    <dgm:pt modelId="{340F955F-CE23-4110-B48D-F0BF5EEBE452}">
      <dgm:prSet phldrT="[Texto]" custT="1"/>
      <dgm:spPr/>
      <dgm:t>
        <a:bodyPr/>
        <a:lstStyle/>
        <a:p>
          <a:endParaRPr lang="es-CO" sz="2000" dirty="0"/>
        </a:p>
      </dgm:t>
    </dgm:pt>
    <dgm:pt modelId="{1C5111E0-E760-45F6-81F4-06146E417B13}" type="parTrans" cxnId="{FBE51123-57D6-4645-B11F-52B1048348F0}">
      <dgm:prSet/>
      <dgm:spPr/>
      <dgm:t>
        <a:bodyPr/>
        <a:lstStyle/>
        <a:p>
          <a:endParaRPr lang="es-CO"/>
        </a:p>
      </dgm:t>
    </dgm:pt>
    <dgm:pt modelId="{A2052AA9-EA5C-4CB0-B609-C8ECC21D00E3}" type="sibTrans" cxnId="{FBE51123-57D6-4645-B11F-52B1048348F0}">
      <dgm:prSet/>
      <dgm:spPr/>
      <dgm:t>
        <a:bodyPr/>
        <a:lstStyle/>
        <a:p>
          <a:endParaRPr lang="es-CO"/>
        </a:p>
      </dgm:t>
    </dgm:pt>
    <dgm:pt modelId="{36B40596-B656-498B-9B62-C873AA7AA470}">
      <dgm:prSet phldrT="[Texto]" custT="1"/>
      <dgm:spPr/>
      <dgm:t>
        <a:bodyPr/>
        <a:lstStyle/>
        <a:p>
          <a:endParaRPr lang="es-CO" sz="2000" dirty="0"/>
        </a:p>
      </dgm:t>
    </dgm:pt>
    <dgm:pt modelId="{D8268729-E05A-4537-8785-79794928E945}" type="parTrans" cxnId="{577BBCF0-0B01-45D1-AE5D-79FD33A779B0}">
      <dgm:prSet/>
      <dgm:spPr/>
      <dgm:t>
        <a:bodyPr/>
        <a:lstStyle/>
        <a:p>
          <a:endParaRPr lang="es-CO"/>
        </a:p>
      </dgm:t>
    </dgm:pt>
    <dgm:pt modelId="{8C994B1A-535E-446F-8493-5CDFAB24F515}" type="sibTrans" cxnId="{577BBCF0-0B01-45D1-AE5D-79FD33A779B0}">
      <dgm:prSet/>
      <dgm:spPr/>
      <dgm:t>
        <a:bodyPr/>
        <a:lstStyle/>
        <a:p>
          <a:endParaRPr lang="es-CO"/>
        </a:p>
      </dgm:t>
    </dgm:pt>
    <dgm:pt modelId="{EB12B54A-121D-416F-A27C-CB9B491B584C}">
      <dgm:prSet custT="1"/>
      <dgm:spPr/>
      <dgm:t>
        <a:bodyPr/>
        <a:lstStyle/>
        <a:p>
          <a:r>
            <a:rPr lang="es-CO" sz="1800" b="0" dirty="0" smtClean="0"/>
            <a:t>CALZADA NUEVA-</a:t>
          </a:r>
          <a:r>
            <a:rPr lang="es-CO" sz="1800" b="0" smtClean="0"/>
            <a:t>--- 3,6 </a:t>
          </a:r>
          <a:r>
            <a:rPr lang="es-CO" sz="1800" b="0" dirty="0" smtClean="0"/>
            <a:t>KM</a:t>
          </a:r>
        </a:p>
      </dgm:t>
    </dgm:pt>
    <dgm:pt modelId="{4F5DAE65-AED3-454E-9194-E7C431B80E34}" type="parTrans" cxnId="{F97BB763-AF34-470E-9B65-2ED9FC659022}">
      <dgm:prSet/>
      <dgm:spPr/>
      <dgm:t>
        <a:bodyPr/>
        <a:lstStyle/>
        <a:p>
          <a:endParaRPr lang="es-CO"/>
        </a:p>
      </dgm:t>
    </dgm:pt>
    <dgm:pt modelId="{088C7DE4-7A4C-48C5-8A6A-C67F8969C759}" type="sibTrans" cxnId="{F97BB763-AF34-470E-9B65-2ED9FC659022}">
      <dgm:prSet/>
      <dgm:spPr/>
      <dgm:t>
        <a:bodyPr/>
        <a:lstStyle/>
        <a:p>
          <a:endParaRPr lang="es-CO"/>
        </a:p>
      </dgm:t>
    </dgm:pt>
    <dgm:pt modelId="{A41A4A74-75CE-4B35-A5DC-7ADE44329F8B}">
      <dgm:prSet custT="1"/>
      <dgm:spPr/>
      <dgm:t>
        <a:bodyPr/>
        <a:lstStyle/>
        <a:p>
          <a:r>
            <a:rPr lang="es-CO" sz="1800" b="0" dirty="0" smtClean="0"/>
            <a:t>MEJORAMIENTO  --10.8 KM</a:t>
          </a:r>
        </a:p>
      </dgm:t>
    </dgm:pt>
    <dgm:pt modelId="{AA720A73-D5BE-4D24-B611-E15A370A4523}" type="parTrans" cxnId="{585C8D74-B8B9-48FB-B550-7523AEBAE473}">
      <dgm:prSet/>
      <dgm:spPr/>
      <dgm:t>
        <a:bodyPr/>
        <a:lstStyle/>
        <a:p>
          <a:endParaRPr lang="es-MX"/>
        </a:p>
      </dgm:t>
    </dgm:pt>
    <dgm:pt modelId="{F32EAD3C-547A-4918-AAF1-4E1A050A5F90}" type="sibTrans" cxnId="{585C8D74-B8B9-48FB-B550-7523AEBAE473}">
      <dgm:prSet/>
      <dgm:spPr/>
      <dgm:t>
        <a:bodyPr/>
        <a:lstStyle/>
        <a:p>
          <a:endParaRPr lang="es-MX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58732" custLinFactY="-103767" custLinFactNeighborX="1086" custLinFactNeighborY="-2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00000" custLinFactNeighborX="2834" custLinFactNeighborY="-968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70536492-0E53-4007-97CE-2774975CD5F1}" srcId="{3256AD19-79D9-4DD2-BD85-48D74080CB17}" destId="{9B6697C5-748C-4784-B4C3-CD848AFB1CDB}" srcOrd="6" destOrd="0" parTransId="{1A2630A8-5F0D-4C33-9068-2B26DB517175}" sibTransId="{7C8EACFF-FD3E-4B92-8B2C-AD708B3D4A45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E7F48DBF-C277-4259-8AB7-956D963CD02A}" srcId="{3256AD19-79D9-4DD2-BD85-48D74080CB17}" destId="{3CEE575A-F9B9-4E14-8022-36B7658C25EA}" srcOrd="3" destOrd="0" parTransId="{B9DC1293-DB75-457B-8CA0-245D2A3ADCDD}" sibTransId="{C0C94BDD-E2C1-4279-A17F-C19A7954400C}"/>
    <dgm:cxn modelId="{2F1B6270-A750-4A87-B53E-DE597C94F492}" type="presOf" srcId="{3CEE575A-F9B9-4E14-8022-36B7658C25EA}" destId="{AB09D624-FF1B-4987-8110-30D214096F41}" srcOrd="0" destOrd="3" presId="urn:microsoft.com/office/officeart/2005/8/layout/hList1"/>
    <dgm:cxn modelId="{FBE51123-57D6-4645-B11F-52B1048348F0}" srcId="{3256AD19-79D9-4DD2-BD85-48D74080CB17}" destId="{340F955F-CE23-4110-B48D-F0BF5EEBE452}" srcOrd="5" destOrd="0" parTransId="{1C5111E0-E760-45F6-81F4-06146E417B13}" sibTransId="{A2052AA9-EA5C-4CB0-B609-C8ECC21D00E3}"/>
    <dgm:cxn modelId="{412E8E41-2B91-4889-BE4E-628F45E92F81}" type="presOf" srcId="{EB12B54A-121D-416F-A27C-CB9B491B584C}" destId="{AB09D624-FF1B-4987-8110-30D214096F41}" srcOrd="0" destOrd="1" presId="urn:microsoft.com/office/officeart/2005/8/layout/hList1"/>
    <dgm:cxn modelId="{585C8D74-B8B9-48FB-B550-7523AEBAE473}" srcId="{3256AD19-79D9-4DD2-BD85-48D74080CB17}" destId="{A41A4A74-75CE-4B35-A5DC-7ADE44329F8B}" srcOrd="2" destOrd="0" parTransId="{AA720A73-D5BE-4D24-B611-E15A370A4523}" sibTransId="{F32EAD3C-547A-4918-AAF1-4E1A050A5F90}"/>
    <dgm:cxn modelId="{E3C88698-840E-42D5-B757-11C03B91C137}" type="presOf" srcId="{36B40596-B656-498B-9B62-C873AA7AA470}" destId="{AB09D624-FF1B-4987-8110-30D214096F41}" srcOrd="0" destOrd="7" presId="urn:microsoft.com/office/officeart/2005/8/layout/hList1"/>
    <dgm:cxn modelId="{5D56AF31-0C2D-44CC-9987-30D16ED7A79B}" type="presOf" srcId="{7203B8CA-D3C3-4D6F-BC39-C80E9282EE0E}" destId="{AB09D624-FF1B-4987-8110-30D214096F41}" srcOrd="0" destOrd="4" presId="urn:microsoft.com/office/officeart/2005/8/layout/hList1"/>
    <dgm:cxn modelId="{91B82E1B-5584-4532-B34D-34305A94846C}" srcId="{3256AD19-79D9-4DD2-BD85-48D74080CB17}" destId="{7203B8CA-D3C3-4D6F-BC39-C80E9282EE0E}" srcOrd="4" destOrd="0" parTransId="{4F8F0F5F-AC7D-4D29-92A7-11DEC45166E3}" sibTransId="{E11D0EC4-9B44-480D-ACAD-C3C135CF5A91}"/>
    <dgm:cxn modelId="{ED6C73CC-9B35-4ECB-BE4B-045381F8CF02}" type="presOf" srcId="{CF84DDC2-96BF-432F-AA37-B7281110F630}" destId="{351DADD5-826D-416B-84E5-26678C386891}" srcOrd="0" destOrd="0" presId="urn:microsoft.com/office/officeart/2005/8/layout/hList1"/>
    <dgm:cxn modelId="{A67112E4-615E-41CD-8BC2-04167902B550}" type="presOf" srcId="{62D32E80-FEA0-48C5-B4F3-D3A7B382CF4D}" destId="{AB09D624-FF1B-4987-8110-30D214096F41}" srcOrd="0" destOrd="0" presId="urn:microsoft.com/office/officeart/2005/8/layout/hList1"/>
    <dgm:cxn modelId="{7368440A-A768-4FDA-ABDB-3853339BCD84}" type="presOf" srcId="{3256AD19-79D9-4DD2-BD85-48D74080CB17}" destId="{FFC2669E-6EFE-4306-9BF4-0E6FE39D4B43}" srcOrd="0" destOrd="0" presId="urn:microsoft.com/office/officeart/2005/8/layout/hList1"/>
    <dgm:cxn modelId="{F385D467-E0F9-4213-8247-DD29AEABEE13}" type="presOf" srcId="{340F955F-CE23-4110-B48D-F0BF5EEBE452}" destId="{AB09D624-FF1B-4987-8110-30D214096F41}" srcOrd="0" destOrd="5" presId="urn:microsoft.com/office/officeart/2005/8/layout/hList1"/>
    <dgm:cxn modelId="{D8C886D1-2132-4D8E-B553-7670C9EA4354}" type="presOf" srcId="{9B6697C5-748C-4784-B4C3-CD848AFB1CDB}" destId="{AB09D624-FF1B-4987-8110-30D214096F41}" srcOrd="0" destOrd="6" presId="urn:microsoft.com/office/officeart/2005/8/layout/hList1"/>
    <dgm:cxn modelId="{F97BB763-AF34-470E-9B65-2ED9FC659022}" srcId="{3256AD19-79D9-4DD2-BD85-48D74080CB17}" destId="{EB12B54A-121D-416F-A27C-CB9B491B584C}" srcOrd="1" destOrd="0" parTransId="{4F5DAE65-AED3-454E-9194-E7C431B80E34}" sibTransId="{088C7DE4-7A4C-48C5-8A6A-C67F8969C759}"/>
    <dgm:cxn modelId="{6C3253D6-A908-43D3-9FD4-44045083F603}" type="presOf" srcId="{A41A4A74-75CE-4B35-A5DC-7ADE44329F8B}" destId="{AB09D624-FF1B-4987-8110-30D214096F41}" srcOrd="0" destOrd="2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577BBCF0-0B01-45D1-AE5D-79FD33A779B0}" srcId="{3256AD19-79D9-4DD2-BD85-48D74080CB17}" destId="{36B40596-B656-498B-9B62-C873AA7AA470}" srcOrd="7" destOrd="0" parTransId="{D8268729-E05A-4537-8785-79794928E945}" sibTransId="{8C994B1A-535E-446F-8493-5CDFAB24F515}"/>
    <dgm:cxn modelId="{FFBB4EB2-4A69-4543-BE18-56BBD1775B36}" type="presParOf" srcId="{351DADD5-826D-416B-84E5-26678C386891}" destId="{78A07495-0AF3-45E3-8386-C0DF5FF5E438}" srcOrd="0" destOrd="0" presId="urn:microsoft.com/office/officeart/2005/8/layout/hList1"/>
    <dgm:cxn modelId="{FECA66ED-8B67-4079-85AE-4354EFCED154}" type="presParOf" srcId="{78A07495-0AF3-45E3-8386-C0DF5FF5E438}" destId="{FFC2669E-6EFE-4306-9BF4-0E6FE39D4B43}" srcOrd="0" destOrd="0" presId="urn:microsoft.com/office/officeart/2005/8/layout/hList1"/>
    <dgm:cxn modelId="{DD83D21D-628B-4B2E-AD64-9F777486342E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5,1 Km</a:t>
          </a:r>
          <a:endParaRPr lang="es-CO" b="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BA39C4A-810C-4796-B8B1-4A8CACD20CBC}">
      <dgm:prSet phldrT="[Texto]"/>
      <dgm:spPr/>
      <dgm:t>
        <a:bodyPr/>
        <a:lstStyle/>
        <a:p>
          <a:r>
            <a:rPr lang="es-CO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</a:t>
          </a:r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Terminar la Intersección a desnivel de El Maizal (en el acceso a Sincelejo). </a:t>
          </a:r>
          <a:endParaRPr lang="es-ES" b="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gm:t>
    </dgm:pt>
    <dgm:pt modelId="{F1FE0F2E-3871-4A29-B26E-FD568D86153B}" type="parTrans" cxnId="{407141A3-4745-4B5C-A0F7-B78C6F37F7C8}">
      <dgm:prSet/>
      <dgm:spPr/>
      <dgm:t>
        <a:bodyPr/>
        <a:lstStyle/>
        <a:p>
          <a:endParaRPr lang="es-ES"/>
        </a:p>
      </dgm:t>
    </dgm:pt>
    <dgm:pt modelId="{74D5557C-F1FE-4E5A-96BC-307DB7C4F64D}" type="sibTrans" cxnId="{407141A3-4745-4B5C-A0F7-B78C6F37F7C8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661" custLinFactNeighborY="17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7BB0F00-EBA4-4AB8-B4C6-79BBE6CEF064}" type="presOf" srcId="{8BA39C4A-810C-4796-B8B1-4A8CACD20CBC}" destId="{AB09D624-FF1B-4987-8110-30D214096F41}" srcOrd="0" destOrd="1" presId="urn:microsoft.com/office/officeart/2005/8/layout/hList1"/>
    <dgm:cxn modelId="{5CDF113F-6171-4ED6-8381-EDB65538139B}" type="presOf" srcId="{CF84DDC2-96BF-432F-AA37-B7281110F630}" destId="{351DADD5-826D-416B-84E5-26678C386891}" srcOrd="0" destOrd="0" presId="urn:microsoft.com/office/officeart/2005/8/layout/hList1"/>
    <dgm:cxn modelId="{2DB6A465-6E65-4006-92BB-9D55FF978594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07141A3-4745-4B5C-A0F7-B78C6F37F7C8}" srcId="{3256AD19-79D9-4DD2-BD85-48D74080CB17}" destId="{8BA39C4A-810C-4796-B8B1-4A8CACD20CBC}" srcOrd="1" destOrd="0" parTransId="{F1FE0F2E-3871-4A29-B26E-FD568D86153B}" sibTransId="{74D5557C-F1FE-4E5A-96BC-307DB7C4F64D}"/>
    <dgm:cxn modelId="{85C1A6FB-1F7C-4CEA-BD89-6F9F781F75A2}" type="presOf" srcId="{62D32E80-FEA0-48C5-B4F3-D3A7B382CF4D}" destId="{AB09D624-FF1B-4987-8110-30D214096F41}" srcOrd="0" destOrd="0" presId="urn:microsoft.com/office/officeart/2005/8/layout/hList1"/>
    <dgm:cxn modelId="{7ED1EBE5-2A55-4515-A70A-18B40BC0B68E}" type="presParOf" srcId="{351DADD5-826D-416B-84E5-26678C386891}" destId="{78A07495-0AF3-45E3-8386-C0DF5FF5E438}" srcOrd="0" destOrd="0" presId="urn:microsoft.com/office/officeart/2005/8/layout/hList1"/>
    <dgm:cxn modelId="{8862B776-714C-4396-AEE2-3126E8DE506E}" type="presParOf" srcId="{78A07495-0AF3-45E3-8386-C0DF5FF5E438}" destId="{FFC2669E-6EFE-4306-9BF4-0E6FE39D4B43}" srcOrd="0" destOrd="0" presId="urn:microsoft.com/office/officeart/2005/8/layout/hList1"/>
    <dgm:cxn modelId="{C4EB214E-9ED4-47BF-9BF9-F1C081EC473E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 smtClean="0"/>
            <a:t>Avance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000" dirty="0" smtClean="0"/>
            <a:t>CALZADA NUEVA 2,6 KM</a:t>
          </a:r>
          <a:endParaRPr lang="es-CO" sz="2000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885E76B-EC90-4B1D-9C02-B5EBE3950EC7}">
      <dgm:prSet phldrT="[Texto]" custT="1"/>
      <dgm:spPr/>
      <dgm:t>
        <a:bodyPr/>
        <a:lstStyle/>
        <a:p>
          <a:r>
            <a:rPr lang="es-CO" sz="2000" dirty="0" smtClean="0"/>
            <a:t>MEJORAMIENTO 4.5 KM</a:t>
          </a:r>
          <a:endParaRPr lang="es-CO" sz="2000" dirty="0"/>
        </a:p>
      </dgm:t>
    </dgm:pt>
    <dgm:pt modelId="{95FE6076-A8E6-4125-85DD-BA13CA8898A9}" type="parTrans" cxnId="{997FA050-4EE7-4EA1-BC7C-4E2897151603}">
      <dgm:prSet/>
      <dgm:spPr/>
      <dgm:t>
        <a:bodyPr/>
        <a:lstStyle/>
        <a:p>
          <a:endParaRPr lang="es-CO"/>
        </a:p>
      </dgm:t>
    </dgm:pt>
    <dgm:pt modelId="{F18B3C4C-9E2D-4F47-9DEB-1328BE286A6E}" type="sibTrans" cxnId="{997FA050-4EE7-4EA1-BC7C-4E2897151603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1701" custLinFactNeighborY="-301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19978" custLinFactNeighborX="-4484" custLinFactNeighborY="731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997FA050-4EE7-4EA1-BC7C-4E2897151603}" srcId="{3256AD19-79D9-4DD2-BD85-48D74080CB17}" destId="{8885E76B-EC90-4B1D-9C02-B5EBE3950EC7}" srcOrd="1" destOrd="0" parTransId="{95FE6076-A8E6-4125-85DD-BA13CA8898A9}" sibTransId="{F18B3C4C-9E2D-4F47-9DEB-1328BE286A6E}"/>
    <dgm:cxn modelId="{B4885801-E70F-40E6-B529-935313A65D2F}" type="presOf" srcId="{8885E76B-EC90-4B1D-9C02-B5EBE3950EC7}" destId="{AB09D624-FF1B-4987-8110-30D214096F41}" srcOrd="0" destOrd="1" presId="urn:microsoft.com/office/officeart/2005/8/layout/hList1"/>
    <dgm:cxn modelId="{DFB6B723-4CB8-41A8-A6D5-769F5BC2DD1D}" type="presOf" srcId="{3256AD19-79D9-4DD2-BD85-48D74080CB17}" destId="{FFC2669E-6EFE-4306-9BF4-0E6FE39D4B43}" srcOrd="0" destOrd="0" presId="urn:microsoft.com/office/officeart/2005/8/layout/hList1"/>
    <dgm:cxn modelId="{11D7252D-6FB3-400A-968B-4AAAE007E89A}" type="presOf" srcId="{CF84DDC2-96BF-432F-AA37-B7281110F630}" destId="{351DADD5-826D-416B-84E5-26678C386891}" srcOrd="0" destOrd="0" presId="urn:microsoft.com/office/officeart/2005/8/layout/hList1"/>
    <dgm:cxn modelId="{81FAA74E-7A1E-40C3-A813-AFC5B2B6F8B8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2EFA7D60-168C-461A-A490-F0A9BA6A11A5}" type="presParOf" srcId="{351DADD5-826D-416B-84E5-26678C386891}" destId="{78A07495-0AF3-45E3-8386-C0DF5FF5E438}" srcOrd="0" destOrd="0" presId="urn:microsoft.com/office/officeart/2005/8/layout/hList1"/>
    <dgm:cxn modelId="{F356F712-813F-430E-974F-385AAA5AFC51}" type="presParOf" srcId="{78A07495-0AF3-45E3-8386-C0DF5FF5E438}" destId="{FFC2669E-6EFE-4306-9BF4-0E6FE39D4B43}" srcOrd="0" destOrd="0" presId="urn:microsoft.com/office/officeart/2005/8/layout/hList1"/>
    <dgm:cxn modelId="{7C893A17-74B5-4EE3-9759-36357130E1A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 smtClean="0"/>
            <a:t>Met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 smtClean="0">
              <a:solidFill>
                <a:schemeClr val="accent4">
                  <a:lumMod val="50000"/>
                </a:schemeClr>
              </a:solidFill>
            </a:rPr>
            <a:t>Calzada nueva: 3 km</a:t>
          </a:r>
          <a:endParaRPr lang="es-CO" dirty="0">
            <a:solidFill>
              <a:schemeClr val="accent4">
                <a:lumMod val="50000"/>
              </a:schemeClr>
            </a:solidFill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1989" custLinFactNeighborY="-1056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ScaleY="110793" custLinFactNeighborX="647" custLinFactNeighborY="-26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8E64CD8-734B-4B6F-8E91-34B39716DB69}" type="presOf" srcId="{3256AD19-79D9-4DD2-BD85-48D74080CB17}" destId="{FFC2669E-6EFE-4306-9BF4-0E6FE39D4B43}" srcOrd="0" destOrd="0" presId="urn:microsoft.com/office/officeart/2005/8/layout/hList1"/>
    <dgm:cxn modelId="{2029CA97-4B3E-41EE-9C95-FFE98D9270EC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FEF8796C-A6B3-4B4A-B6BC-AD2E2AAB83AA}" type="presOf" srcId="{62D32E80-FEA0-48C5-B4F3-D3A7B382CF4D}" destId="{AB09D624-FF1B-4987-8110-30D214096F4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6C327A2D-C7F2-4FBD-80DB-46A06AA5D07E}" type="presParOf" srcId="{351DADD5-826D-416B-84E5-26678C386891}" destId="{78A07495-0AF3-45E3-8386-C0DF5FF5E438}" srcOrd="0" destOrd="0" presId="urn:microsoft.com/office/officeart/2005/8/layout/hList1"/>
    <dgm:cxn modelId="{E4BD46B2-712E-4229-8E4F-555F2EE12AA2}" type="presParOf" srcId="{78A07495-0AF3-45E3-8386-C0DF5FF5E438}" destId="{FFC2669E-6EFE-4306-9BF4-0E6FE39D4B43}" srcOrd="0" destOrd="0" presId="urn:microsoft.com/office/officeart/2005/8/layout/hList1"/>
    <dgm:cxn modelId="{CC828F72-C8A7-4587-9753-20819AC43AE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s-CO" sz="2200" dirty="0" smtClean="0"/>
            <a:t>Avances</a:t>
          </a:r>
          <a:endParaRPr lang="es-CO" sz="22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200" dirty="0" smtClean="0">
              <a:solidFill>
                <a:schemeClr val="accent4">
                  <a:lumMod val="50000"/>
                </a:schemeClr>
              </a:solidFill>
            </a:rPr>
            <a:t>Calzada nueva: 1,93 km</a:t>
          </a:r>
          <a:endParaRPr lang="es-CO" sz="2200" dirty="0">
            <a:solidFill>
              <a:schemeClr val="accent4">
                <a:lumMod val="50000"/>
              </a:schemeClr>
            </a:solidFill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74330" custLinFactNeighborY="-2612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Y="177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942920C-CD6B-401C-9635-CDCCF98B63D4}" type="presOf" srcId="{3256AD19-79D9-4DD2-BD85-48D74080CB17}" destId="{FFC2669E-6EFE-4306-9BF4-0E6FE39D4B43}" srcOrd="0" destOrd="0" presId="urn:microsoft.com/office/officeart/2005/8/layout/hList1"/>
    <dgm:cxn modelId="{8D0BF380-2F79-4034-8437-035B418CB58B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18E8AF78-CAE2-44E0-8081-31BAF5C5A659}" type="presOf" srcId="{62D32E80-FEA0-48C5-B4F3-D3A7B382CF4D}" destId="{AB09D624-FF1B-4987-8110-30D214096F41}" srcOrd="0" destOrd="0" presId="urn:microsoft.com/office/officeart/2005/8/layout/hList1"/>
    <dgm:cxn modelId="{A6884E76-084D-4C3E-95B0-81F507A967DD}" type="presParOf" srcId="{351DADD5-826D-416B-84E5-26678C386891}" destId="{78A07495-0AF3-45E3-8386-C0DF5FF5E438}" srcOrd="0" destOrd="0" presId="urn:microsoft.com/office/officeart/2005/8/layout/hList1"/>
    <dgm:cxn modelId="{5B07AC7B-1F8C-4826-8A53-BC5941F5E2D9}" type="presParOf" srcId="{78A07495-0AF3-45E3-8386-C0DF5FF5E438}" destId="{FFC2669E-6EFE-4306-9BF4-0E6FE39D4B43}" srcOrd="0" destOrd="0" presId="urn:microsoft.com/office/officeart/2005/8/layout/hList1"/>
    <dgm:cxn modelId="{BA3EC57E-26DE-4E38-9180-DD179B6E048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MX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,3 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AC413095-5CF3-4298-8FBC-4A453F5B3D15}">
      <dgm:prSet/>
      <dgm:spPr/>
      <dgm:t>
        <a:bodyPr/>
        <a:lstStyle/>
        <a:p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Intersección a desnivel de El Maizal: 93%.</a:t>
          </a:r>
          <a:endParaRPr lang="es-ES" dirty="0"/>
        </a:p>
      </dgm:t>
    </dgm:pt>
    <dgm:pt modelId="{BE88F98C-0E66-412D-98F0-22748A3E57DE}" type="parTrans" cxnId="{0AA550E3-B5C3-4782-9758-F6B311CB9112}">
      <dgm:prSet/>
      <dgm:spPr/>
      <dgm:t>
        <a:bodyPr/>
        <a:lstStyle/>
        <a:p>
          <a:endParaRPr lang="es-ES"/>
        </a:p>
      </dgm:t>
    </dgm:pt>
    <dgm:pt modelId="{B08B702E-C988-4003-A2CB-5BD90383939D}" type="sibTrans" cxnId="{0AA550E3-B5C3-4782-9758-F6B311CB9112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331" custLinFactNeighborY="23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894" custLinFactNeighborY="-148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BBA20BC-2C75-48FA-A502-57AEF57E3057}" type="presOf" srcId="{CF84DDC2-96BF-432F-AA37-B7281110F630}" destId="{351DADD5-826D-416B-84E5-26678C386891}" srcOrd="0" destOrd="0" presId="urn:microsoft.com/office/officeart/2005/8/layout/hList1"/>
    <dgm:cxn modelId="{FC37366E-7537-48D1-9033-72EB8298B903}" type="presOf" srcId="{62D32E80-FEA0-48C5-B4F3-D3A7B382CF4D}" destId="{AB09D624-FF1B-4987-8110-30D214096F41}" srcOrd="0" destOrd="0" presId="urn:microsoft.com/office/officeart/2005/8/layout/hList1"/>
    <dgm:cxn modelId="{35A39C33-F1E6-4DCB-B75D-81A5D9DB4C3A}" type="presOf" srcId="{3256AD19-79D9-4DD2-BD85-48D74080CB17}" destId="{FFC2669E-6EFE-4306-9BF4-0E6FE39D4B43}" srcOrd="0" destOrd="0" presId="urn:microsoft.com/office/officeart/2005/8/layout/hList1"/>
    <dgm:cxn modelId="{1AF9CDA6-4D4D-40B8-99B1-C53DEEED0D65}" type="presOf" srcId="{AC413095-5CF3-4298-8FBC-4A453F5B3D15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0AA550E3-B5C3-4782-9758-F6B311CB9112}" srcId="{3256AD19-79D9-4DD2-BD85-48D74080CB17}" destId="{AC413095-5CF3-4298-8FBC-4A453F5B3D15}" srcOrd="1" destOrd="0" parTransId="{BE88F98C-0E66-412D-98F0-22748A3E57DE}" sibTransId="{B08B702E-C988-4003-A2CB-5BD90383939D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1624D998-D0FC-4FAE-9BCF-1A0812343749}" type="presParOf" srcId="{351DADD5-826D-416B-84E5-26678C386891}" destId="{78A07495-0AF3-45E3-8386-C0DF5FF5E438}" srcOrd="0" destOrd="0" presId="urn:microsoft.com/office/officeart/2005/8/layout/hList1"/>
    <dgm:cxn modelId="{B70695DD-B3AB-40DF-ADBF-B99216BDA12B}" type="presParOf" srcId="{78A07495-0AF3-45E3-8386-C0DF5FF5E438}" destId="{FFC2669E-6EFE-4306-9BF4-0E6FE39D4B43}" srcOrd="0" destOrd="0" presId="urn:microsoft.com/office/officeart/2005/8/layout/hList1"/>
    <dgm:cxn modelId="{15509BC6-AC11-4E6A-934A-185568F290C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13,85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82E7A39-A55F-4919-900F-32EB4F5817F6}" type="presOf" srcId="{62D32E80-FEA0-48C5-B4F3-D3A7B382CF4D}" destId="{AB09D624-FF1B-4987-8110-30D214096F41}" srcOrd="0" destOrd="0" presId="urn:microsoft.com/office/officeart/2005/8/layout/hList1"/>
    <dgm:cxn modelId="{E4AA417C-E914-4846-AEC7-768C4C912DE7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74CC33F-1007-4A1A-B734-2A634A1173A1}" type="presOf" srcId="{CF84DDC2-96BF-432F-AA37-B7281110F630}" destId="{351DADD5-826D-416B-84E5-26678C386891}" srcOrd="0" destOrd="0" presId="urn:microsoft.com/office/officeart/2005/8/layout/hList1"/>
    <dgm:cxn modelId="{BEB97250-37D3-4A83-8509-35B6E4876C9C}" type="presParOf" srcId="{351DADD5-826D-416B-84E5-26678C386891}" destId="{78A07495-0AF3-45E3-8386-C0DF5FF5E438}" srcOrd="0" destOrd="0" presId="urn:microsoft.com/office/officeart/2005/8/layout/hList1"/>
    <dgm:cxn modelId="{8AD2C4C2-88D9-4DA1-9F66-539E29F9DF2C}" type="presParOf" srcId="{78A07495-0AF3-45E3-8386-C0DF5FF5E438}" destId="{FFC2669E-6EFE-4306-9BF4-0E6FE39D4B43}" srcOrd="0" destOrd="0" presId="urn:microsoft.com/office/officeart/2005/8/layout/hList1"/>
    <dgm:cxn modelId="{7A5E2605-A38D-4B06-9760-57F2E366EC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0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147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661" custLinFactNeighborY="259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C324708-0712-41B6-9047-5F10FCDBED06}" type="presOf" srcId="{62D32E80-FEA0-48C5-B4F3-D3A7B382CF4D}" destId="{AB09D624-FF1B-4987-8110-30D214096F41}" srcOrd="0" destOrd="0" presId="urn:microsoft.com/office/officeart/2005/8/layout/hList1"/>
    <dgm:cxn modelId="{6E5DEFC7-E143-4703-80C0-9812B361201D}" type="presOf" srcId="{3256AD19-79D9-4DD2-BD85-48D74080CB17}" destId="{FFC2669E-6EFE-4306-9BF4-0E6FE39D4B43}" srcOrd="0" destOrd="0" presId="urn:microsoft.com/office/officeart/2005/8/layout/hList1"/>
    <dgm:cxn modelId="{B79FFDFE-F8D2-40EB-B5E2-66DCAF6769C6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E067B514-6F4B-401C-AB07-57E3848363FA}" type="presParOf" srcId="{351DADD5-826D-416B-84E5-26678C386891}" destId="{78A07495-0AF3-45E3-8386-C0DF5FF5E438}" srcOrd="0" destOrd="0" presId="urn:microsoft.com/office/officeart/2005/8/layout/hList1"/>
    <dgm:cxn modelId="{E0A00B66-B581-4ECC-A6EC-A927D465BDF5}" type="presParOf" srcId="{78A07495-0AF3-45E3-8386-C0DF5FF5E438}" destId="{FFC2669E-6EFE-4306-9BF4-0E6FE39D4B43}" srcOrd="0" destOrd="0" presId="urn:microsoft.com/office/officeart/2005/8/layout/hList1"/>
    <dgm:cxn modelId="{FE16ECCB-6BEC-421A-B118-38CC40835F3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11,68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20253" custLinFactNeighborY="34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9949AE61-8F4F-434B-8CDE-D1B82561EC2F}" type="presOf" srcId="{3256AD19-79D9-4DD2-BD85-48D74080CB17}" destId="{FFC2669E-6EFE-4306-9BF4-0E6FE39D4B43}" srcOrd="0" destOrd="0" presId="urn:microsoft.com/office/officeart/2005/8/layout/hList1"/>
    <dgm:cxn modelId="{D41F672B-0CA9-4D53-A5E8-423323718FC7}" type="presOf" srcId="{CF84DDC2-96BF-432F-AA37-B7281110F630}" destId="{351DADD5-826D-416B-84E5-26678C386891}" srcOrd="0" destOrd="0" presId="urn:microsoft.com/office/officeart/2005/8/layout/hList1"/>
    <dgm:cxn modelId="{26B3252E-18C2-4467-9AF2-EEE58B68F629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5B149AB4-BDD5-49CC-B0CA-EFCE62205E76}" type="presParOf" srcId="{351DADD5-826D-416B-84E5-26678C386891}" destId="{78A07495-0AF3-45E3-8386-C0DF5FF5E438}" srcOrd="0" destOrd="0" presId="urn:microsoft.com/office/officeart/2005/8/layout/hList1"/>
    <dgm:cxn modelId="{51CC019E-3262-4327-A0C2-2B5F12396A1A}" type="presParOf" srcId="{78A07495-0AF3-45E3-8386-C0DF5FF5E438}" destId="{FFC2669E-6EFE-4306-9BF4-0E6FE39D4B43}" srcOrd="0" destOrd="0" presId="urn:microsoft.com/office/officeart/2005/8/layout/hList1"/>
    <dgm:cxn modelId="{46AB8C7E-FA5F-4FCF-BA9C-2D0FEDA31F64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85908"/>
          <a:ext cx="3068233" cy="777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Metas</a:t>
          </a:r>
          <a:r>
            <a:rPr lang="es-CO" sz="2700" kern="1200" dirty="0"/>
            <a:t> </a:t>
          </a:r>
        </a:p>
      </dsp:txBody>
      <dsp:txXfrm>
        <a:off x="0" y="185908"/>
        <a:ext cx="3068233" cy="777600"/>
      </dsp:txXfrm>
    </dsp:sp>
    <dsp:sp modelId="{AB09D624-FF1B-4987-8110-30D214096F41}">
      <dsp:nvSpPr>
        <dsp:cNvPr id="0" name=""/>
        <dsp:cNvSpPr/>
      </dsp:nvSpPr>
      <dsp:spPr>
        <a:xfrm>
          <a:off x="0" y="744415"/>
          <a:ext cx="3068233" cy="11858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/>
            <a:t>Construcción Segunda Calzada: 90 km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/>
            <a:t>Mejoramiento: 37,51 km</a:t>
          </a:r>
        </a:p>
      </dsp:txBody>
      <dsp:txXfrm>
        <a:off x="0" y="744415"/>
        <a:ext cx="3068233" cy="118584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662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/>
            <a:t>Avances</a:t>
          </a:r>
        </a:p>
      </dsp:txBody>
      <dsp:txXfrm>
        <a:off x="0" y="0"/>
        <a:ext cx="2880320" cy="662400"/>
      </dsp:txXfrm>
    </dsp:sp>
    <dsp:sp modelId="{AB09D624-FF1B-4987-8110-30D214096F41}">
      <dsp:nvSpPr>
        <dsp:cNvPr id="0" name=""/>
        <dsp:cNvSpPr/>
      </dsp:nvSpPr>
      <dsp:spPr>
        <a:xfrm>
          <a:off x="0" y="582204"/>
          <a:ext cx="2880320" cy="129426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/>
            <a:t>Construcción Segunda Calzada: 0,25 km</a:t>
          </a:r>
        </a:p>
      </dsp:txBody>
      <dsp:txXfrm>
        <a:off x="0" y="582204"/>
        <a:ext cx="2880320" cy="129426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68670"/>
          <a:ext cx="2880320" cy="259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6576" rIns="64008" bIns="36576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900" kern="1200" dirty="0" smtClean="0"/>
            <a:t>Metas</a:t>
          </a:r>
          <a:endParaRPr lang="es-CO" sz="900" kern="1200" dirty="0"/>
        </a:p>
      </dsp:txBody>
      <dsp:txXfrm>
        <a:off x="0" y="168670"/>
        <a:ext cx="2880320" cy="259200"/>
      </dsp:txXfrm>
    </dsp:sp>
    <dsp:sp modelId="{AB09D624-FF1B-4987-8110-30D214096F41}">
      <dsp:nvSpPr>
        <dsp:cNvPr id="0" name=""/>
        <dsp:cNvSpPr/>
      </dsp:nvSpPr>
      <dsp:spPr>
        <a:xfrm>
          <a:off x="0" y="362872"/>
          <a:ext cx="2880320" cy="140818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Entrega estudios y diseños por el Concesionario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Licenciamiento ambiental – Se entregará el EIA el 3 de junio de 2016 para revisión de la Interventoría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Gestión predial y entrega plan de adquisición predial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Actividades de socialización del proyecto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Entrega plan de obras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Entrega Plan de manejo y traslado de redes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Convenio con la POLCA 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Iniciar Fase de Construcción el 18 de septiembre de 2016</a:t>
          </a:r>
          <a:endParaRPr lang="es-CO" sz="900" kern="1200" dirty="0"/>
        </a:p>
      </dsp:txBody>
      <dsp:txXfrm>
        <a:off x="0" y="362872"/>
        <a:ext cx="2880320" cy="140818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71898"/>
          <a:ext cx="2880320" cy="288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Avances</a:t>
          </a:r>
          <a:endParaRPr lang="es-CO" sz="1000" kern="1200" dirty="0"/>
        </a:p>
      </dsp:txBody>
      <dsp:txXfrm>
        <a:off x="0" y="171898"/>
        <a:ext cx="2880320" cy="288000"/>
      </dsp:txXfrm>
    </dsp:sp>
    <dsp:sp modelId="{AB09D624-FF1B-4987-8110-30D214096F41}">
      <dsp:nvSpPr>
        <dsp:cNvPr id="0" name=""/>
        <dsp:cNvSpPr/>
      </dsp:nvSpPr>
      <dsp:spPr>
        <a:xfrm>
          <a:off x="0" y="397221"/>
          <a:ext cx="2880320" cy="148229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Se conformo el panel de amigable componedor.</a:t>
          </a:r>
          <a:endParaRPr lang="es-CO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Se entregó el corredor vial al Concesionario NUEVO CAUCA SAS el 1 de diciembre de 2015</a:t>
          </a:r>
          <a:endParaRPr lang="es-CO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Se entregaron los estudios y diseños definitivos el 20 de abril de 2016. En revisión actualmente por la Interventoría.</a:t>
          </a:r>
          <a:endParaRPr lang="es-CO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Se suscribió el Convenio con la POLCA el 6 de mayo de 2016 y se entregaron los elementos y bienes a la Policía el 12 de mayo de 2016.</a:t>
          </a:r>
          <a:endParaRPr lang="es-CO" sz="1000" kern="1200" dirty="0"/>
        </a:p>
      </dsp:txBody>
      <dsp:txXfrm>
        <a:off x="0" y="397221"/>
        <a:ext cx="2880320" cy="148229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5774"/>
          <a:ext cx="3239248" cy="432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kern="1200" dirty="0" smtClean="0"/>
            <a:t>Metas</a:t>
          </a:r>
          <a:endParaRPr lang="es-CO" sz="1500" kern="1200" dirty="0"/>
        </a:p>
      </dsp:txBody>
      <dsp:txXfrm>
        <a:off x="0" y="25774"/>
        <a:ext cx="3239248" cy="432000"/>
      </dsp:txXfrm>
    </dsp:sp>
    <dsp:sp modelId="{AB09D624-FF1B-4987-8110-30D214096F41}">
      <dsp:nvSpPr>
        <dsp:cNvPr id="0" name=""/>
        <dsp:cNvSpPr/>
      </dsp:nvSpPr>
      <dsp:spPr>
        <a:xfrm>
          <a:off x="0" y="367370"/>
          <a:ext cx="3239248" cy="129701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500" kern="1200" dirty="0" smtClean="0"/>
            <a:t>Elaboración de Estudios y Diseños.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500" kern="1200" dirty="0" smtClean="0"/>
            <a:t>Gestión de Tramite Ambientales y en el Ministerio del Interior para certificación e inicio de proceso de Consulta Previa. </a:t>
          </a:r>
          <a:endParaRPr lang="es-CO" sz="1500" kern="1200" dirty="0"/>
        </a:p>
      </dsp:txBody>
      <dsp:txXfrm>
        <a:off x="0" y="367370"/>
        <a:ext cx="3239248" cy="1297012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07845"/>
          <a:ext cx="4701271" cy="742751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700" kern="1200" dirty="0" smtClean="0"/>
            <a:t>Avances</a:t>
          </a:r>
          <a:endParaRPr lang="es-CO" sz="1700" kern="1200" dirty="0"/>
        </a:p>
      </dsp:txBody>
      <dsp:txXfrm>
        <a:off x="0" y="207845"/>
        <a:ext cx="4701271" cy="742751"/>
      </dsp:txXfrm>
    </dsp:sp>
    <dsp:sp modelId="{AB09D624-FF1B-4987-8110-30D214096F41}">
      <dsp:nvSpPr>
        <dsp:cNvPr id="0" name=""/>
        <dsp:cNvSpPr/>
      </dsp:nvSpPr>
      <dsp:spPr>
        <a:xfrm>
          <a:off x="0" y="777686"/>
          <a:ext cx="4701271" cy="22289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El 20 de Mayo de 2016, el Concesionario realizó la entrega del diseño geométrico de las 5 unidades funcionales del Proyecto, diseños de detalle de la UF 1, Plan de manejo de redes y Plan de adquisición predial. Sin embargo estos diseños y entregables, fueron elaborados bajo una optimización de trazado realizado por el Concesionario, que afecta parte de la UF 1, UF 2 y parte de la UF 3, esta optimización de trazado se aleja de trazado fase II. (en revisión de la Interventoría).</a:t>
          </a:r>
          <a:endParaRPr lang="es-CO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En las UF 1, 2 y 3, independiente del trazado geométrico de Fase II y Optimización de trazado, se identifica presencia de comunidad Indígena. En proceso de certificación.</a:t>
          </a:r>
          <a:endParaRPr lang="es-CO" sz="1200" kern="1200" dirty="0"/>
        </a:p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Se firmó con fecha de 29 de abril de 2016 por parte de la Policía Nacional, el Convenio entre Concesionario y Policía </a:t>
          </a:r>
          <a:endParaRPr lang="es-CO" sz="1200" kern="1200" dirty="0"/>
        </a:p>
      </dsp:txBody>
      <dsp:txXfrm>
        <a:off x="0" y="777686"/>
        <a:ext cx="4701271" cy="2228940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725226" cy="432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kern="1200" dirty="0" smtClean="0"/>
            <a:t>Metas</a:t>
          </a:r>
          <a:endParaRPr lang="es-CO" sz="1500" kern="1200" dirty="0"/>
        </a:p>
      </dsp:txBody>
      <dsp:txXfrm>
        <a:off x="0" y="0"/>
        <a:ext cx="2725226" cy="432000"/>
      </dsp:txXfrm>
    </dsp:sp>
    <dsp:sp modelId="{AB09D624-FF1B-4987-8110-30D214096F41}">
      <dsp:nvSpPr>
        <dsp:cNvPr id="0" name=""/>
        <dsp:cNvSpPr/>
      </dsp:nvSpPr>
      <dsp:spPr>
        <a:xfrm>
          <a:off x="0" y="452793"/>
          <a:ext cx="2725226" cy="109113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500" kern="1200" dirty="0" smtClean="0"/>
            <a:t>Elaboración de Estudios y Diseños.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500" kern="1200" dirty="0" smtClean="0"/>
            <a:t>Gestión a Tramite Ambientales y ante el Ministerio del Interior.</a:t>
          </a:r>
          <a:endParaRPr lang="es-CO" sz="1500" kern="1200" dirty="0"/>
        </a:p>
      </dsp:txBody>
      <dsp:txXfrm>
        <a:off x="0" y="452793"/>
        <a:ext cx="2725226" cy="109113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53727"/>
          <a:ext cx="4187542" cy="432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Avances</a:t>
          </a:r>
          <a:endParaRPr lang="es-CO" sz="1400" kern="1200" dirty="0"/>
        </a:p>
      </dsp:txBody>
      <dsp:txXfrm>
        <a:off x="0" y="253727"/>
        <a:ext cx="4187542" cy="432000"/>
      </dsp:txXfrm>
    </dsp:sp>
    <dsp:sp modelId="{AB09D624-FF1B-4987-8110-30D214096F41}">
      <dsp:nvSpPr>
        <dsp:cNvPr id="0" name=""/>
        <dsp:cNvSpPr/>
      </dsp:nvSpPr>
      <dsp:spPr>
        <a:xfrm>
          <a:off x="0" y="595505"/>
          <a:ext cx="4187542" cy="16264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400" kern="1200" dirty="0" smtClean="0"/>
            <a:t>Avance del 90% en  Estudios y Diseños. </a:t>
          </a:r>
          <a:r>
            <a:rPr lang="es-CO" sz="1400" kern="1200" dirty="0" smtClean="0"/>
            <a:t>Concesionario realiza entrega a Interventoría del diseño geométrico de la totalidad de las unidades funcionales,  estudios de detalle de las UF1-2-3-4-7 y el Plan de manejo de redes.  La interventoría se encuentra en revisión de los diseño entregados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400" kern="1200" dirty="0" smtClean="0"/>
            <a:t>Avance del 50% en formulación del E.I.A. </a:t>
          </a:r>
          <a:endParaRPr lang="es-CO" sz="1400" kern="1200" dirty="0" smtClean="0"/>
        </a:p>
      </dsp:txBody>
      <dsp:txXfrm>
        <a:off x="0" y="595505"/>
        <a:ext cx="4187542" cy="1626415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239248" cy="777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700" kern="1200" dirty="0" smtClean="0"/>
            <a:t>Metas</a:t>
          </a:r>
          <a:endParaRPr lang="es-CO" sz="2700" kern="1200" dirty="0"/>
        </a:p>
      </dsp:txBody>
      <dsp:txXfrm>
        <a:off x="0" y="0"/>
        <a:ext cx="3239248" cy="777600"/>
      </dsp:txXfrm>
    </dsp:sp>
    <dsp:sp modelId="{AB09D624-FF1B-4987-8110-30D214096F41}">
      <dsp:nvSpPr>
        <dsp:cNvPr id="0" name=""/>
        <dsp:cNvSpPr/>
      </dsp:nvSpPr>
      <dsp:spPr>
        <a:xfrm>
          <a:off x="0" y="733066"/>
          <a:ext cx="3239248" cy="11858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Elaboración de Estudios y Diseños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 Gestión al Licenciamiento Ambiental (Inc. Consultas previas)</a:t>
          </a:r>
          <a:r>
            <a:rPr lang="es-CO" sz="1300" kern="1200" dirty="0" smtClean="0"/>
            <a:t> </a:t>
          </a:r>
          <a:endParaRPr lang="es-CO" sz="1300" kern="1200" dirty="0"/>
        </a:p>
      </dsp:txBody>
      <dsp:txXfrm>
        <a:off x="0" y="733066"/>
        <a:ext cx="3239248" cy="1185840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4074842" cy="373205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kern="1200" dirty="0" smtClean="0"/>
            <a:t>Avances</a:t>
          </a:r>
          <a:endParaRPr lang="es-CO" sz="1300" kern="1200" dirty="0"/>
        </a:p>
      </dsp:txBody>
      <dsp:txXfrm>
        <a:off x="0" y="0"/>
        <a:ext cx="4074842" cy="373205"/>
      </dsp:txXfrm>
    </dsp:sp>
    <dsp:sp modelId="{AB09D624-FF1B-4987-8110-30D214096F41}">
      <dsp:nvSpPr>
        <dsp:cNvPr id="0" name=""/>
        <dsp:cNvSpPr/>
      </dsp:nvSpPr>
      <dsp:spPr>
        <a:xfrm>
          <a:off x="0" y="255056"/>
          <a:ext cx="4074842" cy="2630216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Avance del 88% en elaboración de los estudios y Diseños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Avance del 80% en la formulación del E.I.A. 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Concesionario no realizo entrega de Estudios de Detalle de UF 1, aludiendo limitación de acceso a territorio por consulta previa. 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Min. </a:t>
          </a:r>
          <a:r>
            <a:rPr lang="es-419" sz="1300" kern="1200" dirty="0" err="1" smtClean="0"/>
            <a:t>Int</a:t>
          </a:r>
          <a:r>
            <a:rPr lang="es-419" sz="1300" kern="1200" dirty="0" smtClean="0"/>
            <a:t> . dio por terminado el  dialogo directo con el Consejo Comunitario de Mulalo, e insto a concesionario a realizar las actividades necesarias para elaborar una matriz de Impactos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419" sz="1300" kern="1200" dirty="0" smtClean="0"/>
            <a:t>Se protocolizo Apertura de Consulta Previa Ruta Metodológica, con el Consejo comunitario negro de Loboguerrero.</a:t>
          </a:r>
          <a:endParaRPr lang="es-CO" sz="1300" kern="1200" dirty="0"/>
        </a:p>
      </dsp:txBody>
      <dsp:txXfrm>
        <a:off x="0" y="255056"/>
        <a:ext cx="4074842" cy="2630216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44140"/>
          <a:ext cx="2880320" cy="1036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Metas</a:t>
          </a:r>
          <a:endParaRPr lang="es-CO" sz="1400" kern="1200" dirty="0"/>
        </a:p>
      </dsp:txBody>
      <dsp:txXfrm>
        <a:off x="0" y="44140"/>
        <a:ext cx="2880320" cy="1036800"/>
      </dsp:txXfrm>
    </dsp:sp>
    <dsp:sp modelId="{AB09D624-FF1B-4987-8110-30D214096F41}">
      <dsp:nvSpPr>
        <dsp:cNvPr id="0" name=""/>
        <dsp:cNvSpPr/>
      </dsp:nvSpPr>
      <dsp:spPr>
        <a:xfrm>
          <a:off x="0" y="963833"/>
          <a:ext cx="2880320" cy="16123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Ejecución de programas sociales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Operación y mantenimiento del corredor vial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ctividades encaminadas a mejorar la seguridad vial del proyecto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Reversión de la vía al 10 de Octubre del presente año.</a:t>
          </a:r>
          <a:endParaRPr lang="es-CO" sz="1100" kern="1200" dirty="0"/>
        </a:p>
      </dsp:txBody>
      <dsp:txXfrm>
        <a:off x="0" y="963833"/>
        <a:ext cx="2880320" cy="16123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66187" cy="7776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Avances</a:t>
          </a:r>
        </a:p>
      </dsp:txBody>
      <dsp:txXfrm>
        <a:off x="0" y="0"/>
        <a:ext cx="2866187" cy="777600"/>
      </dsp:txXfrm>
    </dsp:sp>
    <dsp:sp modelId="{AB09D624-FF1B-4987-8110-30D214096F41}">
      <dsp:nvSpPr>
        <dsp:cNvPr id="0" name=""/>
        <dsp:cNvSpPr/>
      </dsp:nvSpPr>
      <dsp:spPr>
        <a:xfrm>
          <a:off x="0" y="703231"/>
          <a:ext cx="2866187" cy="11858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/>
            <a:t>Construcción Segunda Calzada: 0,72 k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/>
            <a:t>Mejoramiento: 0 km</a:t>
          </a:r>
        </a:p>
      </dsp:txBody>
      <dsp:txXfrm>
        <a:off x="0" y="703231"/>
        <a:ext cx="2866187" cy="1185840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55304"/>
          <a:ext cx="3081532" cy="498823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Avances</a:t>
          </a:r>
          <a:endParaRPr lang="es-CO" sz="1400" kern="1200" dirty="0"/>
        </a:p>
      </dsp:txBody>
      <dsp:txXfrm>
        <a:off x="0" y="155304"/>
        <a:ext cx="3081532" cy="498823"/>
      </dsp:txXfrm>
    </dsp:sp>
    <dsp:sp modelId="{AB09D624-FF1B-4987-8110-30D214096F41}">
      <dsp:nvSpPr>
        <dsp:cNvPr id="0" name=""/>
        <dsp:cNvSpPr/>
      </dsp:nvSpPr>
      <dsp:spPr>
        <a:xfrm>
          <a:off x="0" y="699971"/>
          <a:ext cx="3081532" cy="224242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ctualmente se están ejecutando los programas sociales Lácteos La </a:t>
          </a:r>
          <a:r>
            <a:rPr lang="es-CO" sz="1100" kern="1200" dirty="0" err="1" smtClean="0"/>
            <a:t>Yolomba</a:t>
          </a:r>
          <a:r>
            <a:rPr lang="es-CO" sz="1100" kern="1200" dirty="0" smtClean="0"/>
            <a:t> y Vivero Sabaletas, con la colaboración del SENA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Mantenimiento rutinario al corredor vial y se priorizan bacheos de acuerdo a los resultados de los indicadores e índices de estado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Se ejecutó mantenimiento de las lozas más afectadas del peaje Loboguerrero entre el 21 y 26 de marzo del presente año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ctualmente Interventoría y Concesionario se encuentran revisando formatos de reversión, en Junio del presente año se comenzaran a diligenciar junto con funcionarios de la Agencia.</a:t>
          </a:r>
          <a:endParaRPr lang="es-CO" sz="1100" kern="1200" dirty="0"/>
        </a:p>
      </dsp:txBody>
      <dsp:txXfrm>
        <a:off x="0" y="699971"/>
        <a:ext cx="3081532" cy="2242429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509705" cy="518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Metas</a:t>
          </a:r>
          <a:endParaRPr lang="es-CO" sz="1800" kern="1200" dirty="0"/>
        </a:p>
      </dsp:txBody>
      <dsp:txXfrm>
        <a:off x="0" y="0"/>
        <a:ext cx="3509705" cy="518400"/>
      </dsp:txXfrm>
    </dsp:sp>
    <dsp:sp modelId="{AB09D624-FF1B-4987-8110-30D214096F41}">
      <dsp:nvSpPr>
        <dsp:cNvPr id="0" name=""/>
        <dsp:cNvSpPr/>
      </dsp:nvSpPr>
      <dsp:spPr>
        <a:xfrm>
          <a:off x="0" y="533253"/>
          <a:ext cx="3509705" cy="133407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dirty="0" smtClean="0"/>
            <a:t>Realizar Operación y Mantenimiento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dirty="0" smtClean="0"/>
            <a:t>Revisar Informe de Interventoría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dirty="0" smtClean="0"/>
            <a:t>Realizar Informe de Supervisión</a:t>
          </a:r>
          <a:endParaRPr lang="es-CO" sz="1800" kern="1200" dirty="0"/>
        </a:p>
      </dsp:txBody>
      <dsp:txXfrm>
        <a:off x="0" y="533253"/>
        <a:ext cx="3509705" cy="1334070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4481850" cy="460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smtClean="0"/>
            <a:t>Avances</a:t>
          </a:r>
          <a:endParaRPr lang="es-CO" sz="1800" kern="1200" dirty="0"/>
        </a:p>
      </dsp:txBody>
      <dsp:txXfrm>
        <a:off x="0" y="0"/>
        <a:ext cx="4481850" cy="460800"/>
      </dsp:txXfrm>
    </dsp:sp>
    <dsp:sp modelId="{AB09D624-FF1B-4987-8110-30D214096F41}">
      <dsp:nvSpPr>
        <dsp:cNvPr id="0" name=""/>
        <dsp:cNvSpPr/>
      </dsp:nvSpPr>
      <dsp:spPr>
        <a:xfrm>
          <a:off x="0" y="427471"/>
          <a:ext cx="4481850" cy="136932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500" kern="1200" dirty="0" smtClean="0"/>
            <a:t>100%. Se realiza la operación y mantenimiento del corredor concesionado.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500" kern="1200" dirty="0" smtClean="0"/>
            <a:t>100%. Se revisa por el grupo de trabajo los informes mensuales de Interventoría.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500" kern="1200" dirty="0" smtClean="0"/>
            <a:t>100%. Se elabora los Informes mensuales de supervisión.</a:t>
          </a:r>
          <a:endParaRPr lang="es-CO" sz="1500" kern="1200" dirty="0"/>
        </a:p>
      </dsp:txBody>
      <dsp:txXfrm>
        <a:off x="0" y="427471"/>
        <a:ext cx="4481850" cy="1369322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9695"/>
          <a:ext cx="2880320" cy="374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kern="1200" dirty="0" smtClean="0"/>
            <a:t>Metas</a:t>
          </a:r>
          <a:endParaRPr lang="es-CO" sz="1300" kern="1200" dirty="0"/>
        </a:p>
      </dsp:txBody>
      <dsp:txXfrm>
        <a:off x="0" y="9695"/>
        <a:ext cx="2880320" cy="374400"/>
      </dsp:txXfrm>
    </dsp:sp>
    <dsp:sp modelId="{AB09D624-FF1B-4987-8110-30D214096F41}">
      <dsp:nvSpPr>
        <dsp:cNvPr id="0" name=""/>
        <dsp:cNvSpPr/>
      </dsp:nvSpPr>
      <dsp:spPr>
        <a:xfrm>
          <a:off x="0" y="311722"/>
          <a:ext cx="2880320" cy="160582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Construcción de la segunda calzada entre el Peaje Corzo y la entrada a </a:t>
          </a:r>
          <a:r>
            <a:rPr lang="es-CO" sz="1100" kern="1200" dirty="0" err="1" smtClean="0"/>
            <a:t>Cartagenita</a:t>
          </a:r>
          <a:r>
            <a:rPr lang="es-CO" sz="1100" kern="1200" dirty="0" smtClean="0"/>
            <a:t>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Construcción puente vehicular Rio Botello en el K21+300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Construcción puente vehicular Ferrocarril en el K21+100.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Iniciar la construcción de los enlaces a desnivel en los sectores de Tres Esquinas, glorieta Mosquera – La Mesa y entrada a </a:t>
          </a:r>
          <a:r>
            <a:rPr lang="es-CO" sz="1100" kern="1200" dirty="0" err="1" smtClean="0"/>
            <a:t>Bojacá</a:t>
          </a:r>
          <a:r>
            <a:rPr lang="es-CO" sz="1100" kern="1200" dirty="0" smtClean="0"/>
            <a:t>.</a:t>
          </a:r>
          <a:endParaRPr lang="es-CO" sz="1100" kern="1200" dirty="0"/>
        </a:p>
      </dsp:txBody>
      <dsp:txXfrm>
        <a:off x="0" y="311722"/>
        <a:ext cx="2880320" cy="1605824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374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kern="1200" dirty="0" smtClean="0"/>
            <a:t>Avances</a:t>
          </a:r>
          <a:endParaRPr lang="es-CO" sz="1300" kern="1200" dirty="0"/>
        </a:p>
      </dsp:txBody>
      <dsp:txXfrm>
        <a:off x="0" y="0"/>
        <a:ext cx="2880320" cy="374400"/>
      </dsp:txXfrm>
    </dsp:sp>
    <dsp:sp modelId="{AB09D624-FF1B-4987-8110-30D214096F41}">
      <dsp:nvSpPr>
        <dsp:cNvPr id="0" name=""/>
        <dsp:cNvSpPr/>
      </dsp:nvSpPr>
      <dsp:spPr>
        <a:xfrm>
          <a:off x="0" y="297701"/>
          <a:ext cx="2880320" cy="153445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64% avance segunda calzada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16% avance puente Rio Botello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1% avance puente Ferrocarril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Solo se ha iniciado la construcción de los enlaces a desnivel glorieta Mosquera – La Mesa y entrada a </a:t>
          </a:r>
          <a:r>
            <a:rPr lang="es-CO" sz="1300" kern="1200" dirty="0" err="1" smtClean="0"/>
            <a:t>Bojacá</a:t>
          </a:r>
          <a:r>
            <a:rPr lang="es-CO" sz="1300" kern="1200" dirty="0" smtClean="0"/>
            <a:t>, 16% y 4% respectivamente.</a:t>
          </a:r>
          <a:endParaRPr lang="es-CO" sz="1300" kern="1200" dirty="0"/>
        </a:p>
      </dsp:txBody>
      <dsp:txXfrm>
        <a:off x="0" y="297701"/>
        <a:ext cx="2880320" cy="1534454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99682"/>
          <a:ext cx="3750454" cy="46472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Metas 2016</a:t>
          </a:r>
          <a:endParaRPr lang="es-CO" sz="2000" kern="1200" dirty="0"/>
        </a:p>
      </dsp:txBody>
      <dsp:txXfrm>
        <a:off x="0" y="99682"/>
        <a:ext cx="3750454" cy="464722"/>
      </dsp:txXfrm>
    </dsp:sp>
    <dsp:sp modelId="{AB09D624-FF1B-4987-8110-30D214096F41}">
      <dsp:nvSpPr>
        <dsp:cNvPr id="0" name=""/>
        <dsp:cNvSpPr/>
      </dsp:nvSpPr>
      <dsp:spPr>
        <a:xfrm>
          <a:off x="0" y="571091"/>
          <a:ext cx="3750454" cy="15701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b="1" kern="1200" dirty="0" smtClean="0">
              <a:solidFill>
                <a:schemeClr val="tx1"/>
              </a:solidFill>
            </a:rPr>
            <a:t>Construcción- Sector 2: Km41+500-Km44+449 (L=2,95 Km) </a:t>
          </a:r>
          <a:endParaRPr lang="es-CO" sz="1100" b="1" kern="1200" dirty="0">
            <a:solidFill>
              <a:schemeClr val="tx1"/>
            </a:solidFill>
          </a:endParaRP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Puentes=6 Un 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Túneles=3 Un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Galería de Escape=1 Un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b="1" kern="1200" dirty="0" smtClean="0">
              <a:solidFill>
                <a:schemeClr val="tx1"/>
              </a:solidFill>
            </a:rPr>
            <a:t>Construcción - Sector 2A: Km 44+449-Km49+804 (L=5,35 Km</a:t>
          </a:r>
          <a:r>
            <a:rPr lang="es-CO" sz="1100" kern="1200" dirty="0" smtClean="0"/>
            <a:t>)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Puentes= 3 Un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Túneles= 1 Un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Galería de Escape= 1 Un</a:t>
          </a:r>
          <a:endParaRPr lang="es-CO" sz="1100" kern="1200" dirty="0"/>
        </a:p>
      </dsp:txBody>
      <dsp:txXfrm>
        <a:off x="0" y="571091"/>
        <a:ext cx="3750454" cy="1570140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33584"/>
          <a:ext cx="2939406" cy="870953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 smtClean="0"/>
            <a:t>Avances Abril de 2016</a:t>
          </a:r>
          <a:endParaRPr lang="es-CO" sz="2400" kern="1200" dirty="0"/>
        </a:p>
      </dsp:txBody>
      <dsp:txXfrm>
        <a:off x="0" y="33584"/>
        <a:ext cx="2939406" cy="870953"/>
      </dsp:txXfrm>
    </dsp:sp>
    <dsp:sp modelId="{AB09D624-FF1B-4987-8110-30D214096F41}">
      <dsp:nvSpPr>
        <dsp:cNvPr id="0" name=""/>
        <dsp:cNvSpPr/>
      </dsp:nvSpPr>
      <dsp:spPr>
        <a:xfrm>
          <a:off x="0" y="869970"/>
          <a:ext cx="2939406" cy="10101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 smtClean="0"/>
            <a:t>Sector 2: 100%</a:t>
          </a: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 smtClean="0"/>
            <a:t>Sector 2A: 92% </a:t>
          </a:r>
          <a:endParaRPr lang="es-CO" sz="2000" kern="1200" dirty="0"/>
        </a:p>
      </dsp:txBody>
      <dsp:txXfrm>
        <a:off x="0" y="869970"/>
        <a:ext cx="2939406" cy="1010160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115785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Metas</a:t>
          </a:r>
          <a:endParaRPr lang="es-CO" sz="2000" kern="1200" dirty="0"/>
        </a:p>
      </dsp:txBody>
      <dsp:txXfrm>
        <a:off x="0" y="0"/>
        <a:ext cx="2880320" cy="1157856"/>
      </dsp:txXfrm>
    </dsp:sp>
    <dsp:sp modelId="{AB09D624-FF1B-4987-8110-30D214096F41}">
      <dsp:nvSpPr>
        <dsp:cNvPr id="0" name=""/>
        <dsp:cNvSpPr/>
      </dsp:nvSpPr>
      <dsp:spPr>
        <a:xfrm>
          <a:off x="0" y="876693"/>
          <a:ext cx="2880320" cy="14164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Puente Rojo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Puente sobre el Río Pamplonita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Intersección </a:t>
          </a:r>
          <a:r>
            <a:rPr lang="es-CO" sz="1200" kern="1200" dirty="0" err="1" smtClean="0"/>
            <a:t>Rumichaca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Rampas Puente  de Noviembre, Puentes peatonales El Recreo y Sendero Peatonal Juana Paula</a:t>
          </a:r>
          <a:endParaRPr lang="es-CO" sz="1200" kern="1200" dirty="0"/>
        </a:p>
      </dsp:txBody>
      <dsp:txXfrm>
        <a:off x="0" y="876693"/>
        <a:ext cx="2880320" cy="1416420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"/>
          <a:ext cx="2880320" cy="10656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Avances</a:t>
          </a:r>
          <a:endParaRPr lang="es-CO" sz="1800" kern="1200" dirty="0"/>
        </a:p>
      </dsp:txBody>
      <dsp:txXfrm>
        <a:off x="0" y="1"/>
        <a:ext cx="2880320" cy="1065600"/>
      </dsp:txXfrm>
    </dsp:sp>
    <dsp:sp modelId="{AB09D624-FF1B-4987-8110-30D214096F41}">
      <dsp:nvSpPr>
        <dsp:cNvPr id="0" name=""/>
        <dsp:cNvSpPr/>
      </dsp:nvSpPr>
      <dsp:spPr>
        <a:xfrm>
          <a:off x="0" y="1109952"/>
          <a:ext cx="2880320" cy="16250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Puente Rojo: 100% 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Puente Pamplonita: 98%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Intersección </a:t>
          </a:r>
          <a:r>
            <a:rPr lang="es-CO" sz="1400" kern="1200" dirty="0" err="1" smtClean="0"/>
            <a:t>Rumichaca</a:t>
          </a:r>
          <a:r>
            <a:rPr lang="es-CO" sz="1400" kern="1200" dirty="0" smtClean="0"/>
            <a:t>: 49%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El 17-junio-2016 se selecciona el contratista  para la construcción de las obras. </a:t>
          </a:r>
          <a:endParaRPr lang="es-CO" sz="1400" kern="1200" dirty="0"/>
        </a:p>
      </dsp:txBody>
      <dsp:txXfrm>
        <a:off x="0" y="1109952"/>
        <a:ext cx="2880320" cy="1625040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0616"/>
          <a:ext cx="2880320" cy="345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Metas</a:t>
          </a:r>
          <a:endParaRPr lang="es-CO" sz="1200" kern="1200" dirty="0"/>
        </a:p>
      </dsp:txBody>
      <dsp:txXfrm>
        <a:off x="0" y="20616"/>
        <a:ext cx="2880320" cy="345600"/>
      </dsp:txXfrm>
    </dsp:sp>
    <dsp:sp modelId="{AB09D624-FF1B-4987-8110-30D214096F41}">
      <dsp:nvSpPr>
        <dsp:cNvPr id="0" name=""/>
        <dsp:cNvSpPr/>
      </dsp:nvSpPr>
      <dsp:spPr>
        <a:xfrm>
          <a:off x="0" y="402163"/>
          <a:ext cx="2880320" cy="16140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Box vehicular y peatonal Comunitario.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Box hidráulico Meneses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Construcción Segunda Calzada variante Gualanday 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Actividades de Operación y mantenimiento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</dsp:txBody>
      <dsp:txXfrm>
        <a:off x="0" y="402163"/>
        <a:ext cx="2880320" cy="16140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26221"/>
          <a:ext cx="2880320" cy="604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Metas</a:t>
          </a:r>
        </a:p>
      </dsp:txBody>
      <dsp:txXfrm>
        <a:off x="0" y="126221"/>
        <a:ext cx="2880320" cy="604800"/>
      </dsp:txXfrm>
    </dsp:sp>
    <dsp:sp modelId="{AB09D624-FF1B-4987-8110-30D214096F41}">
      <dsp:nvSpPr>
        <dsp:cNvPr id="0" name=""/>
        <dsp:cNvSpPr/>
      </dsp:nvSpPr>
      <dsp:spPr>
        <a:xfrm>
          <a:off x="0" y="623439"/>
          <a:ext cx="2880320" cy="181581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100" kern="1200" dirty="0"/>
            <a:t>Construcción Segunda Calzada: 15,01 km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100" kern="1200" dirty="0"/>
            <a:t>Construcción Doble Calzada: </a:t>
          </a:r>
          <a:r>
            <a:rPr lang="es-ES" sz="2100" kern="1200" dirty="0"/>
            <a:t>7,05 Km</a:t>
          </a:r>
        </a:p>
      </dsp:txBody>
      <dsp:txXfrm>
        <a:off x="0" y="623439"/>
        <a:ext cx="2880320" cy="1815817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4032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Avances</a:t>
          </a:r>
          <a:endParaRPr lang="es-CO" sz="1400" kern="1200" dirty="0"/>
        </a:p>
      </dsp:txBody>
      <dsp:txXfrm>
        <a:off x="0" y="0"/>
        <a:ext cx="2880320" cy="403200"/>
      </dsp:txXfrm>
    </dsp:sp>
    <dsp:sp modelId="{AB09D624-FF1B-4987-8110-30D214096F41}">
      <dsp:nvSpPr>
        <dsp:cNvPr id="0" name=""/>
        <dsp:cNvSpPr/>
      </dsp:nvSpPr>
      <dsp:spPr>
        <a:xfrm>
          <a:off x="0" y="383745"/>
          <a:ext cx="2880320" cy="1868833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Porcentaje Box Meneses 70%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Porcentaje Box Comunitario 78%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Porcentaje de avance contractual construcción segunda calzada 5%, reporte medición tercer Hito 14 %. 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Actividades Operación y mantenimiento 100 %</a:t>
          </a:r>
          <a:endParaRPr lang="es-CO" sz="1400" kern="1200" dirty="0"/>
        </a:p>
      </dsp:txBody>
      <dsp:txXfrm>
        <a:off x="0" y="383745"/>
        <a:ext cx="2880320" cy="1868833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19436"/>
          <a:ext cx="2880320" cy="345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Metas</a:t>
          </a:r>
          <a:endParaRPr lang="es-CO" sz="1200" kern="1200" dirty="0"/>
        </a:p>
      </dsp:txBody>
      <dsp:txXfrm>
        <a:off x="0" y="119436"/>
        <a:ext cx="2880320" cy="345600"/>
      </dsp:txXfrm>
    </dsp:sp>
    <dsp:sp modelId="{AB09D624-FF1B-4987-8110-30D214096F41}">
      <dsp:nvSpPr>
        <dsp:cNvPr id="0" name=""/>
        <dsp:cNvSpPr/>
      </dsp:nvSpPr>
      <dsp:spPr>
        <a:xfrm>
          <a:off x="0" y="401541"/>
          <a:ext cx="2880320" cy="14164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Operación y Mantenimiento del corredor 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Reporte de Informes : Interventoría y Supervisión respecto de las gestiones y avances mensuales 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200" kern="1200" dirty="0" smtClean="0"/>
            <a:t>Elaboración de Estudios y diseños para la atención de Puntos Críticos no contractuales identificados </a:t>
          </a:r>
          <a:endParaRPr lang="es-CO" sz="1200" kern="1200" dirty="0"/>
        </a:p>
      </dsp:txBody>
      <dsp:txXfrm>
        <a:off x="0" y="401541"/>
        <a:ext cx="2880320" cy="141642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648399" cy="288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Avances</a:t>
          </a:r>
          <a:endParaRPr lang="es-CO" sz="1000" kern="1200" dirty="0"/>
        </a:p>
      </dsp:txBody>
      <dsp:txXfrm>
        <a:off x="0" y="0"/>
        <a:ext cx="3648399" cy="288000"/>
      </dsp:txXfrm>
    </dsp:sp>
    <dsp:sp modelId="{AB09D624-FF1B-4987-8110-30D214096F41}">
      <dsp:nvSpPr>
        <dsp:cNvPr id="0" name=""/>
        <dsp:cNvSpPr/>
      </dsp:nvSpPr>
      <dsp:spPr>
        <a:xfrm>
          <a:off x="0" y="256004"/>
          <a:ext cx="3648399" cy="159209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Operación y mantenimiento en cada uno de sus tramos : labores de señalización ,demarcación horizontal, instalación de dispositivos de seguridad vial y demás correspondientes a mantenimiento rutinario del corredor .</a:t>
          </a:r>
          <a:endParaRPr lang="es-CO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Presentación de informes correspondientes: Interventoría y supervisión según requisitos e ítems de gestión mensual.</a:t>
          </a:r>
          <a:endParaRPr lang="es-CO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000" kern="1200" dirty="0" smtClean="0"/>
            <a:t>Suscripción de acta de entendimiento para la elaboración de Estudios y Diseños fase II para la atención de Puntos Críticos no contractuales identificados  en tres sectores comprendidos en el tramo Ubaté - Susa (Cundinamarca) </a:t>
          </a:r>
          <a:endParaRPr lang="es-CO" sz="1000" kern="1200" dirty="0"/>
        </a:p>
      </dsp:txBody>
      <dsp:txXfrm>
        <a:off x="0" y="256004"/>
        <a:ext cx="3648399" cy="1592099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62738"/>
          <a:ext cx="2888153" cy="403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Metas</a:t>
          </a:r>
          <a:endParaRPr lang="es-CO" sz="1400" kern="1200" dirty="0"/>
        </a:p>
      </dsp:txBody>
      <dsp:txXfrm>
        <a:off x="0" y="62738"/>
        <a:ext cx="2888153" cy="403200"/>
      </dsp:txXfrm>
    </dsp:sp>
    <dsp:sp modelId="{AB09D624-FF1B-4987-8110-30D214096F41}">
      <dsp:nvSpPr>
        <dsp:cNvPr id="0" name=""/>
        <dsp:cNvSpPr/>
      </dsp:nvSpPr>
      <dsp:spPr>
        <a:xfrm>
          <a:off x="0" y="423716"/>
          <a:ext cx="2888153" cy="101839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18,01 kilómetros de Rehabilitación en el tramo El Salitre – Guasca – </a:t>
          </a:r>
          <a:r>
            <a:rPr lang="es-CO" sz="1400" kern="1200" dirty="0" err="1" smtClean="0"/>
            <a:t>Sesquile</a:t>
          </a:r>
          <a:r>
            <a:rPr lang="es-CO" sz="1400" kern="1200" dirty="0" smtClean="0"/>
            <a:t> (UF-1)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3,59 Kilómetros de Mejoramiento</a:t>
          </a:r>
          <a:endParaRPr lang="es-CO" sz="1400" kern="1200" dirty="0"/>
        </a:p>
      </dsp:txBody>
      <dsp:txXfrm>
        <a:off x="0" y="423716"/>
        <a:ext cx="2888153" cy="1018394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8206"/>
          <a:ext cx="2955110" cy="460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Avances</a:t>
          </a:r>
          <a:endParaRPr lang="es-CO" sz="1600" kern="1200" dirty="0"/>
        </a:p>
      </dsp:txBody>
      <dsp:txXfrm>
        <a:off x="0" y="8206"/>
        <a:ext cx="2955110" cy="460800"/>
      </dsp:txXfrm>
    </dsp:sp>
    <dsp:sp modelId="{AB09D624-FF1B-4987-8110-30D214096F41}">
      <dsp:nvSpPr>
        <dsp:cNvPr id="0" name=""/>
        <dsp:cNvSpPr/>
      </dsp:nvSpPr>
      <dsp:spPr>
        <a:xfrm>
          <a:off x="0" y="382912"/>
          <a:ext cx="2955110" cy="11638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1,14 Kilómetros de rehabilitación (Unidad Funcional 1)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600" kern="1200" dirty="0"/>
        </a:p>
      </dsp:txBody>
      <dsp:txXfrm>
        <a:off x="0" y="382912"/>
        <a:ext cx="2955110" cy="1163880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19436"/>
          <a:ext cx="2880320" cy="345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Metas</a:t>
          </a:r>
          <a:endParaRPr lang="es-CO" sz="1200" kern="1200" dirty="0"/>
        </a:p>
      </dsp:txBody>
      <dsp:txXfrm>
        <a:off x="0" y="119436"/>
        <a:ext cx="2880320" cy="345600"/>
      </dsp:txXfrm>
    </dsp:sp>
    <dsp:sp modelId="{AB09D624-FF1B-4987-8110-30D214096F41}">
      <dsp:nvSpPr>
        <dsp:cNvPr id="0" name=""/>
        <dsp:cNvSpPr/>
      </dsp:nvSpPr>
      <dsp:spPr>
        <a:xfrm>
          <a:off x="0" y="401541"/>
          <a:ext cx="2880320" cy="14164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200" kern="1200" dirty="0" smtClean="0"/>
            <a:t>Obtener Licenciamiento ambiental de los tramos 2 y 3 – UF1  (septiembre de 2016)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200" kern="1200" dirty="0" smtClean="0"/>
            <a:t>Inicio de construcción de los tramos 2 y 3 (septiembre  de 2016) 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200" kern="1200" dirty="0" smtClean="0"/>
            <a:t>Inicio y aplicación del Plan de Reasentamiento (diciembre de 2016)</a:t>
          </a: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</dsp:txBody>
      <dsp:txXfrm>
        <a:off x="0" y="401541"/>
        <a:ext cx="2880320" cy="1416420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087884" cy="460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Avances</a:t>
          </a:r>
          <a:endParaRPr lang="es-CO" sz="1600" kern="1200" dirty="0"/>
        </a:p>
      </dsp:txBody>
      <dsp:txXfrm>
        <a:off x="0" y="0"/>
        <a:ext cx="3087884" cy="460800"/>
      </dsp:txXfrm>
    </dsp:sp>
    <dsp:sp modelId="{AB09D624-FF1B-4987-8110-30D214096F41}">
      <dsp:nvSpPr>
        <dsp:cNvPr id="0" name=""/>
        <dsp:cNvSpPr/>
      </dsp:nvSpPr>
      <dsp:spPr>
        <a:xfrm>
          <a:off x="0" y="339296"/>
          <a:ext cx="3087884" cy="153720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200" b="1" kern="1200" dirty="0" smtClean="0"/>
            <a:t>AVANCE CONSTRUCCIÓN DEL PROYECTO: 1%</a:t>
          </a:r>
          <a:endParaRPr lang="es-CO" sz="1200" b="1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 smtClean="0"/>
            <a:t>Puente 2 Combeima (excavación de pilotes y caissons) avance: 10%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 smtClean="0"/>
            <a:t>Puente 5 Combeima (excavación de pilotes y caissons) avance: 12%</a:t>
          </a:r>
          <a:endParaRPr lang="es-CO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 smtClean="0"/>
            <a:t>Puente 10 Combeima (excavación de pilotes y caissons) avance: 17%</a:t>
          </a:r>
          <a:endParaRPr lang="es-CO" sz="11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200" b="1" kern="1200" dirty="0" smtClean="0"/>
            <a:t>EYD Fase III UF2: 70%</a:t>
          </a:r>
          <a:endParaRPr lang="es-CO" sz="1200" b="1" kern="1200" dirty="0"/>
        </a:p>
      </dsp:txBody>
      <dsp:txXfrm>
        <a:off x="0" y="339296"/>
        <a:ext cx="3087884" cy="1537200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226086" cy="1180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1592" tIns="166624" rIns="291592" bIns="166624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4100" kern="1200" dirty="0" smtClean="0"/>
            <a:t>Metas</a:t>
          </a:r>
          <a:endParaRPr lang="es-CO" sz="4100" kern="1200" dirty="0"/>
        </a:p>
      </dsp:txBody>
      <dsp:txXfrm>
        <a:off x="0" y="0"/>
        <a:ext cx="3226086" cy="1180800"/>
      </dsp:txXfrm>
    </dsp:sp>
    <dsp:sp modelId="{AB09D624-FF1B-4987-8110-30D214096F41}">
      <dsp:nvSpPr>
        <dsp:cNvPr id="0" name=""/>
        <dsp:cNvSpPr/>
      </dsp:nvSpPr>
      <dsp:spPr>
        <a:xfrm>
          <a:off x="0" y="1207760"/>
          <a:ext cx="3226086" cy="253226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Trazado y diseño geométrico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Estudios y diseños  UF-7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Planes del proyecto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Tramites ambientales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venio POLCA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Inicio unidad funcional  7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ierre financiero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Inicio etapa de construcción unidad funcional   7  jun/2016</a:t>
          </a:r>
          <a:endParaRPr lang="es-CO" sz="1600" kern="1200" dirty="0"/>
        </a:p>
      </dsp:txBody>
      <dsp:txXfrm>
        <a:off x="0" y="1207760"/>
        <a:ext cx="3226086" cy="2532262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070291" cy="1180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Avances</a:t>
          </a:r>
          <a:endParaRPr lang="es-CO" sz="1600" kern="1200" dirty="0"/>
        </a:p>
      </dsp:txBody>
      <dsp:txXfrm>
        <a:off x="0" y="0"/>
        <a:ext cx="3070291" cy="1180800"/>
      </dsp:txXfrm>
    </dsp:sp>
    <dsp:sp modelId="{AB09D624-FF1B-4987-8110-30D214096F41}">
      <dsp:nvSpPr>
        <dsp:cNvPr id="0" name=""/>
        <dsp:cNvSpPr/>
      </dsp:nvSpPr>
      <dsp:spPr>
        <a:xfrm>
          <a:off x="0" y="1184776"/>
          <a:ext cx="3070291" cy="225090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Tramites ambientales dic/2015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Convenio POLCA ene/2016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err="1" smtClean="0"/>
            <a:t>Aprob</a:t>
          </a:r>
          <a:r>
            <a:rPr lang="es-CO" sz="1300" kern="1200" dirty="0" smtClean="0"/>
            <a:t>. Planes del proyecto abril/2016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Aprobación trazado y diseño geométrico jun/2016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err="1" smtClean="0"/>
            <a:t>Aprob</a:t>
          </a:r>
          <a:r>
            <a:rPr lang="es-CO" sz="1300" kern="1200" dirty="0" smtClean="0"/>
            <a:t>. estudios y diseños  UF-7 jun /2016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Cierre financiero, pendiente prorroga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Inicio etapa construcción unidad funcional  7,  pendiente prorroga</a:t>
          </a:r>
          <a:endParaRPr lang="es-CO" sz="1300" kern="1200" dirty="0"/>
        </a:p>
      </dsp:txBody>
      <dsp:txXfrm>
        <a:off x="0" y="1184776"/>
        <a:ext cx="3070291" cy="2250900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5205184" cy="403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Metas</a:t>
          </a:r>
          <a:endParaRPr lang="es-CO" sz="1400" kern="1200" dirty="0"/>
        </a:p>
      </dsp:txBody>
      <dsp:txXfrm>
        <a:off x="0" y="0"/>
        <a:ext cx="5205184" cy="403200"/>
      </dsp:txXfrm>
    </dsp:sp>
    <dsp:sp modelId="{AB09D624-FF1B-4987-8110-30D214096F41}">
      <dsp:nvSpPr>
        <dsp:cNvPr id="0" name=""/>
        <dsp:cNvSpPr/>
      </dsp:nvSpPr>
      <dsp:spPr>
        <a:xfrm>
          <a:off x="0" y="363883"/>
          <a:ext cx="5205184" cy="153719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Realizar plan de adquisición predial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 Realizar estudios de trazado y diseño geométrico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Realizar Plan de obra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Realizar estudios de detalle de las Unidades Funcionales UF1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Realizar estudios de detalle de las Unidades Funcionales UF5</a:t>
          </a: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Realizar estudios de detalle de las Unidades Funcionales UF6</a:t>
          </a:r>
          <a:endParaRPr lang="es-CO" sz="1400" kern="1200" dirty="0"/>
        </a:p>
      </dsp:txBody>
      <dsp:txXfrm>
        <a:off x="0" y="363883"/>
        <a:ext cx="5205184" cy="15371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74864"/>
          <a:ext cx="2880320" cy="604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Avances</a:t>
          </a:r>
        </a:p>
      </dsp:txBody>
      <dsp:txXfrm>
        <a:off x="0" y="74864"/>
        <a:ext cx="2880320" cy="604800"/>
      </dsp:txXfrm>
    </dsp:sp>
    <dsp:sp modelId="{AB09D624-FF1B-4987-8110-30D214096F41}">
      <dsp:nvSpPr>
        <dsp:cNvPr id="0" name=""/>
        <dsp:cNvSpPr/>
      </dsp:nvSpPr>
      <dsp:spPr>
        <a:xfrm>
          <a:off x="0" y="595582"/>
          <a:ext cx="2880320" cy="181581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2100" b="0" kern="120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</a:t>
          </a:r>
          <a:r>
            <a:rPr lang="pt-BR" sz="21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Secunda </a:t>
          </a:r>
          <a:r>
            <a:rPr lang="pt-BR" sz="2100" b="0" kern="120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alzada</a:t>
          </a:r>
          <a:r>
            <a:rPr lang="pt-BR" sz="21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: 2,89 km</a:t>
          </a:r>
          <a:endParaRPr lang="es-CO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100" kern="1200" dirty="0"/>
            <a:t>Construcción Doble Calzada: 7,05 Km</a:t>
          </a:r>
        </a:p>
      </dsp:txBody>
      <dsp:txXfrm>
        <a:off x="0" y="595582"/>
        <a:ext cx="2880320" cy="1815817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5804063" cy="432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kern="1200" dirty="0" smtClean="0"/>
            <a:t>Avances</a:t>
          </a:r>
          <a:endParaRPr lang="es-CO" sz="1500" kern="1200" dirty="0"/>
        </a:p>
      </dsp:txBody>
      <dsp:txXfrm>
        <a:off x="0" y="0"/>
        <a:ext cx="5804063" cy="432000"/>
      </dsp:txXfrm>
    </dsp:sp>
    <dsp:sp modelId="{AB09D624-FF1B-4987-8110-30D214096F41}">
      <dsp:nvSpPr>
        <dsp:cNvPr id="0" name=""/>
        <dsp:cNvSpPr/>
      </dsp:nvSpPr>
      <dsp:spPr>
        <a:xfrm>
          <a:off x="0" y="283171"/>
          <a:ext cx="5804063" cy="164700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500" kern="1200" dirty="0" smtClean="0"/>
            <a:t>Plan de adquisición predial aprobado el 18 de marzo de 2016 (100%)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500" kern="1200" dirty="0" smtClean="0"/>
            <a:t>Diseño geométrico No objetado el 12 de mayo de 2016 (100%)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500" kern="1200" dirty="0" smtClean="0"/>
            <a:t>Plan de Obras, en proceso de revisión (80%)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500" kern="1200" dirty="0" smtClean="0"/>
            <a:t>UF1 – Objetada el 13 de mayo de 2016 (90%)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500" kern="1200" dirty="0" smtClean="0"/>
            <a:t>UF5 – Objetada el 27 de mayo de 2016 (90%)</a:t>
          </a:r>
          <a:endParaRPr lang="es-CO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500" kern="1200" dirty="0" smtClean="0"/>
            <a:t>UF6 – No Objetada el 27 de mayo de 2016 (100%)</a:t>
          </a:r>
          <a:endParaRPr lang="es-CO" sz="1500" kern="1200" dirty="0"/>
        </a:p>
      </dsp:txBody>
      <dsp:txXfrm>
        <a:off x="0" y="283171"/>
        <a:ext cx="5804063" cy="1647000"/>
      </dsp:txXfrm>
    </dsp:sp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72712"/>
          <a:ext cx="2880320" cy="316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Metas</a:t>
          </a:r>
          <a:endParaRPr lang="es-CO" sz="1100" kern="1200" dirty="0"/>
        </a:p>
      </dsp:txBody>
      <dsp:txXfrm>
        <a:off x="0" y="72712"/>
        <a:ext cx="2880320" cy="316800"/>
      </dsp:txXfrm>
    </dsp:sp>
    <dsp:sp modelId="{AB09D624-FF1B-4987-8110-30D214096F41}">
      <dsp:nvSpPr>
        <dsp:cNvPr id="0" name=""/>
        <dsp:cNvSpPr/>
      </dsp:nvSpPr>
      <dsp:spPr>
        <a:xfrm>
          <a:off x="0" y="319172"/>
          <a:ext cx="2880320" cy="153994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Estudios y Diseños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probación EIA y PAGA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probación Plan de Adquisición Predial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dquisición 40% de los predios de una unidad funcional el para inicio de obra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Entrega Plan de Obras 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Inicio de obra</a:t>
          </a:r>
          <a:endParaRPr lang="es-CO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Cierre Financiero</a:t>
          </a:r>
          <a:endParaRPr lang="es-CO" sz="1100" kern="1200" dirty="0"/>
        </a:p>
      </dsp:txBody>
      <dsp:txXfrm>
        <a:off x="0" y="319172"/>
        <a:ext cx="2880320" cy="1539945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36414"/>
          <a:ext cx="3140765" cy="324782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44704" rIns="78232" bIns="44704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Avances</a:t>
          </a:r>
          <a:endParaRPr lang="es-CO" sz="1100" kern="1200" dirty="0"/>
        </a:p>
      </dsp:txBody>
      <dsp:txXfrm>
        <a:off x="0" y="136414"/>
        <a:ext cx="3140765" cy="324782"/>
      </dsp:txXfrm>
    </dsp:sp>
    <dsp:sp modelId="{AB09D624-FF1B-4987-8110-30D214096F41}">
      <dsp:nvSpPr>
        <dsp:cNvPr id="0" name=""/>
        <dsp:cNvSpPr/>
      </dsp:nvSpPr>
      <dsp:spPr>
        <a:xfrm>
          <a:off x="0" y="553757"/>
          <a:ext cx="3140765" cy="1401391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Entrega de los estudios y diseños UF1 – UF4 y UF7 para revisión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Segunda revisión del EIA y PAGA de parte de la Interventoría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smtClean="0"/>
            <a:t>Segunda Revisión Plan de Adquisición Predial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Revisión de los estudios UF1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smtClean="0"/>
            <a:t>Gestión con INVIAS para identificar los predios adquiridos por el estado</a:t>
          </a:r>
          <a:endParaRPr lang="es-CO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900" kern="1200" dirty="0" smtClean="0"/>
            <a:t>El concesionario ha adelantado la gestión con varias entidades financieras y ya tiene seleccionado un banco </a:t>
          </a:r>
          <a:endParaRPr lang="es-CO" sz="900" kern="1200" dirty="0"/>
        </a:p>
      </dsp:txBody>
      <dsp:txXfrm>
        <a:off x="0" y="553757"/>
        <a:ext cx="3140765" cy="1401391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4653451" cy="30534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kern="1200" dirty="0" smtClean="0"/>
            <a:t>Metas</a:t>
          </a:r>
          <a:endParaRPr lang="es-CO" sz="1300" kern="1200" dirty="0"/>
        </a:p>
      </dsp:txBody>
      <dsp:txXfrm>
        <a:off x="0" y="0"/>
        <a:ext cx="4653451" cy="305345"/>
      </dsp:txXfrm>
    </dsp:sp>
    <dsp:sp modelId="{AB09D624-FF1B-4987-8110-30D214096F41}">
      <dsp:nvSpPr>
        <dsp:cNvPr id="0" name=""/>
        <dsp:cNvSpPr/>
      </dsp:nvSpPr>
      <dsp:spPr>
        <a:xfrm>
          <a:off x="9102" y="303537"/>
          <a:ext cx="4653451" cy="1759831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Plan de Adquisición Predial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Plan de obras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Aprobación Estudios de Trazado y Diseño Geométrico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Aprobación Estudios de Detalle de las 4 Unidades Funcionales del Proyecto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Mantenimiento y operación de la vía existente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Cierre Financiero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Inicio construcción de la obra</a:t>
          </a:r>
          <a:endParaRPr lang="es-CO" sz="13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 dirty="0"/>
        </a:p>
      </dsp:txBody>
      <dsp:txXfrm>
        <a:off x="9102" y="303537"/>
        <a:ext cx="4653451" cy="1759831"/>
      </dsp:txXfrm>
    </dsp:sp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4789410" cy="374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300" kern="1200" dirty="0" smtClean="0"/>
            <a:t>Avances</a:t>
          </a:r>
          <a:endParaRPr lang="es-CO" sz="1300" kern="1200" dirty="0"/>
        </a:p>
      </dsp:txBody>
      <dsp:txXfrm>
        <a:off x="0" y="0"/>
        <a:ext cx="4789410" cy="374400"/>
      </dsp:txXfrm>
    </dsp:sp>
    <dsp:sp modelId="{AB09D624-FF1B-4987-8110-30D214096F41}">
      <dsp:nvSpPr>
        <dsp:cNvPr id="0" name=""/>
        <dsp:cNvSpPr/>
      </dsp:nvSpPr>
      <dsp:spPr>
        <a:xfrm>
          <a:off x="0" y="385929"/>
          <a:ext cx="4789410" cy="181993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Plan de Adquisición Predial – En revisión por Interventoría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Plan de obras - En revisión por Interventoría y ANI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Aprobación Estudios de Trazado y Diseño Geométrico – En revisión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Aprobación Estudios de Detalle de las 4 Unidades Funcionales del Proyecto. – En revisión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Mantenimiento y operación de la vía existente – En ejecución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Cierre Financiero – 13-jul-2016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300" kern="1200" dirty="0" smtClean="0"/>
            <a:t>Inicio construcción de la obra – 28-ago-2016</a:t>
          </a:r>
          <a:endParaRPr lang="es-CO" sz="1300" kern="1200" dirty="0"/>
        </a:p>
      </dsp:txBody>
      <dsp:txXfrm>
        <a:off x="0" y="385929"/>
        <a:ext cx="4789410" cy="1819935"/>
      </dsp:txXfrm>
    </dsp:sp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57139"/>
          <a:ext cx="3386822" cy="662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Metas</a:t>
          </a:r>
          <a:endParaRPr lang="es-CO" sz="2300" kern="1200" dirty="0"/>
        </a:p>
      </dsp:txBody>
      <dsp:txXfrm>
        <a:off x="0" y="157139"/>
        <a:ext cx="3386822" cy="662400"/>
      </dsp:txXfrm>
    </dsp:sp>
    <dsp:sp modelId="{AB09D624-FF1B-4987-8110-30D214096F41}">
      <dsp:nvSpPr>
        <dsp:cNvPr id="0" name=""/>
        <dsp:cNvSpPr/>
      </dsp:nvSpPr>
      <dsp:spPr>
        <a:xfrm>
          <a:off x="0" y="783481"/>
          <a:ext cx="3386822" cy="10101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 smtClean="0"/>
            <a:t>Calzada nueva: 80 km</a:t>
          </a:r>
          <a:endParaRPr lang="es-CO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2300" kern="1200" dirty="0" smtClean="0"/>
            <a:t>Calzada existente: 75km</a:t>
          </a:r>
          <a:endParaRPr lang="es-CO" sz="2300" kern="1200" dirty="0"/>
        </a:p>
      </dsp:txBody>
      <dsp:txXfrm>
        <a:off x="0" y="783481"/>
        <a:ext cx="3386822" cy="1010160"/>
      </dsp:txXfrm>
    </dsp:sp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84387"/>
          <a:ext cx="3289230" cy="662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Avances</a:t>
          </a:r>
          <a:endParaRPr lang="es-CO" sz="2300" kern="1200" dirty="0"/>
        </a:p>
      </dsp:txBody>
      <dsp:txXfrm>
        <a:off x="0" y="284387"/>
        <a:ext cx="3289230" cy="662400"/>
      </dsp:txXfrm>
    </dsp:sp>
    <dsp:sp modelId="{AB09D624-FF1B-4987-8110-30D214096F41}">
      <dsp:nvSpPr>
        <dsp:cNvPr id="0" name=""/>
        <dsp:cNvSpPr/>
      </dsp:nvSpPr>
      <dsp:spPr>
        <a:xfrm>
          <a:off x="0" y="748398"/>
          <a:ext cx="3289230" cy="10101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 smtClean="0"/>
            <a:t>Vía nueva: 18.88km</a:t>
          </a:r>
          <a:endParaRPr lang="es-CO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2300" kern="1200" dirty="0" smtClean="0"/>
            <a:t>Vía existente: </a:t>
          </a:r>
          <a:r>
            <a:rPr lang="es-CO" sz="2300" kern="1200" dirty="0" smtClean="0"/>
            <a:t>17.88 km</a:t>
          </a:r>
          <a:endParaRPr lang="es-CO" sz="2300" kern="1200" dirty="0"/>
        </a:p>
      </dsp:txBody>
      <dsp:txXfrm>
        <a:off x="0" y="748398"/>
        <a:ext cx="3289230" cy="1010160"/>
      </dsp:txXfrm>
    </dsp:sp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08741"/>
          <a:ext cx="2955912" cy="518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METAS</a:t>
          </a:r>
          <a:endParaRPr lang="es-CO" sz="1800" kern="1200" dirty="0"/>
        </a:p>
      </dsp:txBody>
      <dsp:txXfrm>
        <a:off x="0" y="108741"/>
        <a:ext cx="2955912" cy="518400"/>
      </dsp:txXfrm>
    </dsp:sp>
    <dsp:sp modelId="{AB09D624-FF1B-4987-8110-30D214096F41}">
      <dsp:nvSpPr>
        <dsp:cNvPr id="0" name=""/>
        <dsp:cNvSpPr/>
      </dsp:nvSpPr>
      <dsp:spPr>
        <a:xfrm>
          <a:off x="0" y="522949"/>
          <a:ext cx="2955912" cy="15811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dirty="0" smtClean="0"/>
            <a:t>Unidad Funcional 1 –(Mejoramiento)  -1,897 KM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dirty="0" smtClean="0"/>
            <a:t>Unidad Funcional 4 – (Mejoramiento) - 6,610 KM</a:t>
          </a:r>
          <a:endParaRPr lang="es-CO" sz="1800" kern="1200" dirty="0"/>
        </a:p>
      </dsp:txBody>
      <dsp:txXfrm>
        <a:off x="0" y="522949"/>
        <a:ext cx="2955912" cy="1581120"/>
      </dsp:txXfrm>
    </dsp:sp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5472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AVANCES</a:t>
          </a:r>
          <a:endParaRPr lang="es-CO" sz="1800" kern="1200" dirty="0"/>
        </a:p>
      </dsp:txBody>
      <dsp:txXfrm>
        <a:off x="0" y="0"/>
        <a:ext cx="2880320" cy="547200"/>
      </dsp:txXfrm>
    </dsp:sp>
    <dsp:sp modelId="{AB09D624-FF1B-4987-8110-30D214096F41}">
      <dsp:nvSpPr>
        <dsp:cNvPr id="0" name=""/>
        <dsp:cNvSpPr/>
      </dsp:nvSpPr>
      <dsp:spPr>
        <a:xfrm>
          <a:off x="0" y="467308"/>
          <a:ext cx="2880320" cy="16689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kern="1200" dirty="0" smtClean="0"/>
            <a:t>Unidad Funcional 1 –(Mejoramiento)  - 00 KM</a:t>
          </a:r>
          <a:endParaRPr lang="es-CO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kern="1200" dirty="0" smtClean="0"/>
            <a:t>Unidad Funcional 4 – (Mejoramiento)  - 00 KM</a:t>
          </a:r>
        </a:p>
      </dsp:txBody>
      <dsp:txXfrm>
        <a:off x="0" y="467308"/>
        <a:ext cx="2880320" cy="1668960"/>
      </dsp:txXfrm>
    </dsp:sp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992558" cy="24250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/>
            <a:t>Metas 2016</a:t>
          </a:r>
          <a:endParaRPr lang="es-CO" sz="2000" b="1" kern="1200" dirty="0"/>
        </a:p>
      </dsp:txBody>
      <dsp:txXfrm>
        <a:off x="0" y="0"/>
        <a:ext cx="2992558" cy="242508"/>
      </dsp:txXfrm>
    </dsp:sp>
    <dsp:sp modelId="{AB09D624-FF1B-4987-8110-30D214096F41}">
      <dsp:nvSpPr>
        <dsp:cNvPr id="0" name=""/>
        <dsp:cNvSpPr/>
      </dsp:nvSpPr>
      <dsp:spPr>
        <a:xfrm>
          <a:off x="0" y="274522"/>
          <a:ext cx="2992558" cy="28108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b="0" kern="1200" dirty="0" smtClean="0"/>
            <a:t>CALZADA NUEVA-</a:t>
          </a:r>
          <a:r>
            <a:rPr lang="es-CO" sz="1800" b="0" kern="1200" smtClean="0"/>
            <a:t>--- 3,6 </a:t>
          </a:r>
          <a:r>
            <a:rPr lang="es-CO" sz="1800" b="0" kern="1200" dirty="0" smtClean="0"/>
            <a:t>KM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b="0" kern="1200" dirty="0" smtClean="0"/>
            <a:t>MEJORAMIENTO  --10.8 K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2000" b="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2000" kern="1200" dirty="0"/>
        </a:p>
      </dsp:txBody>
      <dsp:txXfrm>
        <a:off x="0" y="274522"/>
        <a:ext cx="2992558" cy="28108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81613"/>
          <a:ext cx="2880320" cy="5382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Metas</a:t>
          </a:r>
        </a:p>
      </dsp:txBody>
      <dsp:txXfrm>
        <a:off x="0" y="181613"/>
        <a:ext cx="2880320" cy="538203"/>
      </dsp:txXfrm>
    </dsp:sp>
    <dsp:sp modelId="{AB09D624-FF1B-4987-8110-30D214096F41}">
      <dsp:nvSpPr>
        <dsp:cNvPr id="0" name=""/>
        <dsp:cNvSpPr/>
      </dsp:nvSpPr>
      <dsp:spPr>
        <a:xfrm>
          <a:off x="0" y="632328"/>
          <a:ext cx="2880320" cy="15564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5,1 Km</a:t>
          </a:r>
          <a:endParaRPr lang="es-CO" sz="1800" b="0" kern="120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</a:t>
          </a:r>
          <a:r>
            <a:rPr lang="es-MX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Terminar la Intersección a desnivel de El Maizal (en el acceso a Sincelejo). </a:t>
          </a:r>
          <a:endParaRPr lang="es-ES" sz="1800" b="0" kern="120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sp:txBody>
      <dsp:txXfrm>
        <a:off x="0" y="632328"/>
        <a:ext cx="2880320" cy="1556415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296526" cy="892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472" tIns="125984" rIns="220472" bIns="125984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100" kern="1200" dirty="0" smtClean="0"/>
            <a:t>Avances</a:t>
          </a:r>
          <a:endParaRPr lang="es-CO" sz="3100" kern="1200" dirty="0"/>
        </a:p>
      </dsp:txBody>
      <dsp:txXfrm>
        <a:off x="0" y="0"/>
        <a:ext cx="3296526" cy="892800"/>
      </dsp:txXfrm>
    </dsp:sp>
    <dsp:sp modelId="{AB09D624-FF1B-4987-8110-30D214096F41}">
      <dsp:nvSpPr>
        <dsp:cNvPr id="0" name=""/>
        <dsp:cNvSpPr/>
      </dsp:nvSpPr>
      <dsp:spPr>
        <a:xfrm>
          <a:off x="0" y="833027"/>
          <a:ext cx="3296526" cy="163352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 smtClean="0"/>
            <a:t>CALZADA NUEVA 2,6 KM</a:t>
          </a: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000" kern="1200" dirty="0" smtClean="0"/>
            <a:t>MEJORAMIENTO 4.5 KM</a:t>
          </a:r>
          <a:endParaRPr lang="es-CO" sz="2000" kern="1200" dirty="0"/>
        </a:p>
      </dsp:txBody>
      <dsp:txXfrm>
        <a:off x="0" y="833027"/>
        <a:ext cx="3296526" cy="1633524"/>
      </dsp:txXfrm>
    </dsp:sp>
  </dsp:spTree>
</dsp:drawing>
</file>

<file path=ppt/diagrams/drawing5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979250" cy="691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 smtClean="0"/>
            <a:t>Metas</a:t>
          </a:r>
          <a:endParaRPr lang="es-CO" sz="2400" kern="1200" dirty="0"/>
        </a:p>
      </dsp:txBody>
      <dsp:txXfrm>
        <a:off x="0" y="0"/>
        <a:ext cx="3979250" cy="691200"/>
      </dsp:txXfrm>
    </dsp:sp>
    <dsp:sp modelId="{AB09D624-FF1B-4987-8110-30D214096F41}">
      <dsp:nvSpPr>
        <dsp:cNvPr id="0" name=""/>
        <dsp:cNvSpPr/>
      </dsp:nvSpPr>
      <dsp:spPr>
        <a:xfrm>
          <a:off x="0" y="660078"/>
          <a:ext cx="3979250" cy="1167846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400" kern="1200" dirty="0" smtClean="0">
              <a:solidFill>
                <a:schemeClr val="accent4">
                  <a:lumMod val="50000"/>
                </a:schemeClr>
              </a:solidFill>
            </a:rPr>
            <a:t>Calzada nueva: 3 km</a:t>
          </a:r>
          <a:endParaRPr lang="es-CO" sz="2400" kern="1200" dirty="0">
            <a:solidFill>
              <a:schemeClr val="accent4">
                <a:lumMod val="50000"/>
              </a:schemeClr>
            </a:solidFill>
          </a:endParaRPr>
        </a:p>
      </dsp:txBody>
      <dsp:txXfrm>
        <a:off x="0" y="660078"/>
        <a:ext cx="3979250" cy="1167846"/>
      </dsp:txXfrm>
    </dsp:sp>
  </dsp:spTree>
</dsp:drawing>
</file>

<file path=ppt/diagrams/drawing5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928058" cy="577990"/>
        </a:xfrm>
        <a:prstGeom prst="rect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200" kern="1200" dirty="0" smtClean="0"/>
            <a:t>Avances</a:t>
          </a:r>
          <a:endParaRPr lang="es-CO" sz="2200" kern="1200" dirty="0"/>
        </a:p>
      </dsp:txBody>
      <dsp:txXfrm>
        <a:off x="0" y="0"/>
        <a:ext cx="3928058" cy="577990"/>
      </dsp:txXfrm>
    </dsp:sp>
    <dsp:sp modelId="{AB09D624-FF1B-4987-8110-30D214096F41}">
      <dsp:nvSpPr>
        <dsp:cNvPr id="0" name=""/>
        <dsp:cNvSpPr/>
      </dsp:nvSpPr>
      <dsp:spPr>
        <a:xfrm>
          <a:off x="0" y="607319"/>
          <a:ext cx="3928058" cy="11858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200" kern="1200" dirty="0" smtClean="0">
              <a:solidFill>
                <a:schemeClr val="accent4">
                  <a:lumMod val="50000"/>
                </a:schemeClr>
              </a:solidFill>
            </a:rPr>
            <a:t>Calzada nueva: 1,93 km</a:t>
          </a:r>
          <a:endParaRPr lang="es-CO" sz="2200" kern="1200" dirty="0">
            <a:solidFill>
              <a:schemeClr val="accent4">
                <a:lumMod val="50000"/>
              </a:schemeClr>
            </a:solidFill>
          </a:endParaRPr>
        </a:p>
      </dsp:txBody>
      <dsp:txXfrm>
        <a:off x="0" y="607319"/>
        <a:ext cx="3928058" cy="11858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26354"/>
          <a:ext cx="2880320" cy="576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Avances</a:t>
          </a:r>
        </a:p>
      </dsp:txBody>
      <dsp:txXfrm>
        <a:off x="0" y="226354"/>
        <a:ext cx="2880320" cy="576000"/>
      </dsp:txXfrm>
    </dsp:sp>
    <dsp:sp modelId="{AB09D624-FF1B-4987-8110-30D214096F41}">
      <dsp:nvSpPr>
        <dsp:cNvPr id="0" name=""/>
        <dsp:cNvSpPr/>
      </dsp:nvSpPr>
      <dsp:spPr>
        <a:xfrm>
          <a:off x="0" y="767015"/>
          <a:ext cx="2880320" cy="145484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20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,3 Km</a:t>
          </a: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20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Intersección a desnivel de El Maizal: 93%.</a:t>
          </a:r>
          <a:endParaRPr lang="es-ES" sz="2000" kern="1200" dirty="0"/>
        </a:p>
      </dsp:txBody>
      <dsp:txXfrm>
        <a:off x="0" y="767015"/>
        <a:ext cx="2880320" cy="145484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5086"/>
          <a:ext cx="2880320" cy="662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Metas</a:t>
          </a:r>
        </a:p>
      </dsp:txBody>
      <dsp:txXfrm>
        <a:off x="0" y="15086"/>
        <a:ext cx="2880320" cy="662400"/>
      </dsp:txXfrm>
    </dsp:sp>
    <dsp:sp modelId="{AB09D624-FF1B-4987-8110-30D214096F41}">
      <dsp:nvSpPr>
        <dsp:cNvPr id="0" name=""/>
        <dsp:cNvSpPr/>
      </dsp:nvSpPr>
      <dsp:spPr>
        <a:xfrm>
          <a:off x="0" y="627154"/>
          <a:ext cx="2880320" cy="129426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/>
            <a:t>Construcción Segunda Calzada: 13,85 km</a:t>
          </a:r>
        </a:p>
      </dsp:txBody>
      <dsp:txXfrm>
        <a:off x="0" y="627154"/>
        <a:ext cx="2880320" cy="129426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27541"/>
          <a:ext cx="2880320" cy="662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kern="1200" dirty="0"/>
            <a:t>Avances</a:t>
          </a:r>
        </a:p>
      </dsp:txBody>
      <dsp:txXfrm>
        <a:off x="0" y="127541"/>
        <a:ext cx="2880320" cy="662400"/>
      </dsp:txXfrm>
    </dsp:sp>
    <dsp:sp modelId="{AB09D624-FF1B-4987-8110-30D214096F41}">
      <dsp:nvSpPr>
        <dsp:cNvPr id="0" name=""/>
        <dsp:cNvSpPr/>
      </dsp:nvSpPr>
      <dsp:spPr>
        <a:xfrm>
          <a:off x="0" y="721956"/>
          <a:ext cx="2880320" cy="129426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/>
            <a:t>Construcción Segunda Calzada: 0 km</a:t>
          </a:r>
        </a:p>
      </dsp:txBody>
      <dsp:txXfrm>
        <a:off x="0" y="721956"/>
        <a:ext cx="2880320" cy="129426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52670"/>
          <a:ext cx="2667346" cy="662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/>
            <a:t>Metas</a:t>
          </a:r>
        </a:p>
      </dsp:txBody>
      <dsp:txXfrm>
        <a:off x="0" y="52670"/>
        <a:ext cx="2667346" cy="662400"/>
      </dsp:txXfrm>
    </dsp:sp>
    <dsp:sp modelId="{AB09D624-FF1B-4987-8110-30D214096F41}">
      <dsp:nvSpPr>
        <dsp:cNvPr id="0" name=""/>
        <dsp:cNvSpPr/>
      </dsp:nvSpPr>
      <dsp:spPr>
        <a:xfrm>
          <a:off x="0" y="627154"/>
          <a:ext cx="2667346" cy="129426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/>
            <a:t>Construcción Segunda Calzada: 11,68 km</a:t>
          </a:r>
        </a:p>
      </dsp:txBody>
      <dsp:txXfrm>
        <a:off x="0" y="627154"/>
        <a:ext cx="2667346" cy="12942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6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4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4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4" Type="http://schemas.openxmlformats.org/officeDocument/2006/relationships/slide" Target="../slides/slide22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4" Type="http://schemas.openxmlformats.org/officeDocument/2006/relationships/slide" Target="../slides/slide23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4" Type="http://schemas.openxmlformats.org/officeDocument/2006/relationships/slide" Target="../slides/slide24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4" Type="http://schemas.openxmlformats.org/officeDocument/2006/relationships/slide" Target="../slides/slide25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4" Type="http://schemas.openxmlformats.org/officeDocument/2006/relationships/slide" Target="../slides/slide26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4" Type="http://schemas.openxmlformats.org/officeDocument/2006/relationships/slide" Target="../slides/slide27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slide" Target="../slides/slide28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4" Type="http://schemas.openxmlformats.org/officeDocument/2006/relationships/slide" Target="../slides/slide29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4" Type="http://schemas.openxmlformats.org/officeDocument/2006/relationships/slide" Target="../slides/slide30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4" Type="http://schemas.openxmlformats.org/officeDocument/2006/relationships/slide" Target="../slides/slide3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4" Type="http://schemas.openxmlformats.org/officeDocument/2006/relationships/slide" Target="../slides/slide32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4" Type="http://schemas.openxmlformats.org/officeDocument/2006/relationships/slide" Target="../slides/slide33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4" Type="http://schemas.openxmlformats.org/officeDocument/2006/relationships/slide" Target="../slides/slide34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4" Type="http://schemas.openxmlformats.org/officeDocument/2006/relationships/slide" Target="../slides/slide35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4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50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6126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5445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4206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5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944039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6</a:t>
            </a:fld>
            <a:endParaRPr lang="en-US" sz="1200" dirty="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dirty="0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 dirty="0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6068955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8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5572326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9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4678440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0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7002601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1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490418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2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9588988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3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0614220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4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35121493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5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3744227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6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41237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7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0583138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8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93813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29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2235051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0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514053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1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424705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2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4689889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3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0018193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4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52695989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35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150948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4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23331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5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659024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6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831270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7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32730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8</a:t>
            </a:fld>
            <a:endParaRPr lang="en-US" sz="120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40841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25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8.xml"/><Relationship Id="rId7" Type="http://schemas.openxmlformats.org/officeDocument/2006/relationships/image" Target="../media/image6.emf"/><Relationship Id="rId2" Type="http://schemas.openxmlformats.org/officeDocument/2006/relationships/tags" Target="../tags/tag7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0.xml"/><Relationship Id="rId7" Type="http://schemas.openxmlformats.org/officeDocument/2006/relationships/image" Target="../media/image6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2.xml"/><Relationship Id="rId7" Type="http://schemas.openxmlformats.org/officeDocument/2006/relationships/image" Target="../media/image6.emf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4.xml"/><Relationship Id="rId7" Type="http://schemas.openxmlformats.org/officeDocument/2006/relationships/image" Target="../media/image6.emf"/><Relationship Id="rId2" Type="http://schemas.openxmlformats.org/officeDocument/2006/relationships/tags" Target="../tags/tag8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13" Type="http://schemas.openxmlformats.org/officeDocument/2006/relationships/diagramData" Target="../diagrams/data12.xml"/><Relationship Id="rId18" Type="http://schemas.openxmlformats.org/officeDocument/2006/relationships/image" Target="../media/image1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1.xml"/><Relationship Id="rId17" Type="http://schemas.microsoft.com/office/2007/relationships/diagramDrawing" Target="../diagrams/drawing12.xml"/><Relationship Id="rId2" Type="http://schemas.openxmlformats.org/officeDocument/2006/relationships/tags" Target="../tags/tag85.xml"/><Relationship Id="rId16" Type="http://schemas.openxmlformats.org/officeDocument/2006/relationships/diagramColors" Target="../diagrams/colors1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1.xml"/><Relationship Id="rId5" Type="http://schemas.openxmlformats.org/officeDocument/2006/relationships/oleObject" Target="../embeddings/oleObject23.bin"/><Relationship Id="rId15" Type="http://schemas.openxmlformats.org/officeDocument/2006/relationships/diagramQuickStyle" Target="../diagrams/quickStyle12.xml"/><Relationship Id="rId10" Type="http://schemas.openxmlformats.org/officeDocument/2006/relationships/diagramQuickStyle" Target="../diagrams/quickStyle11.xml"/><Relationship Id="rId19" Type="http://schemas.openxmlformats.org/officeDocument/2006/relationships/image" Target="../media/image14.jpeg"/><Relationship Id="rId4" Type="http://schemas.openxmlformats.org/officeDocument/2006/relationships/notesSlide" Target="../notesSlides/notesSlide14.xml"/><Relationship Id="rId9" Type="http://schemas.openxmlformats.org/officeDocument/2006/relationships/diagramLayout" Target="../diagrams/layout11.xml"/><Relationship Id="rId14" Type="http://schemas.openxmlformats.org/officeDocument/2006/relationships/diagramLayout" Target="../diagrams/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13" Type="http://schemas.openxmlformats.org/officeDocument/2006/relationships/diagramData" Target="../diagrams/data14.xml"/><Relationship Id="rId18" Type="http://schemas.openxmlformats.org/officeDocument/2006/relationships/image" Target="../media/image15.e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3.xml"/><Relationship Id="rId17" Type="http://schemas.microsoft.com/office/2007/relationships/diagramDrawing" Target="../diagrams/drawing14.xml"/><Relationship Id="rId2" Type="http://schemas.openxmlformats.org/officeDocument/2006/relationships/tags" Target="../tags/tag88.xml"/><Relationship Id="rId16" Type="http://schemas.openxmlformats.org/officeDocument/2006/relationships/diagramColors" Target="../diagrams/colors1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3.xml"/><Relationship Id="rId5" Type="http://schemas.openxmlformats.org/officeDocument/2006/relationships/oleObject" Target="../embeddings/oleObject24.bin"/><Relationship Id="rId15" Type="http://schemas.openxmlformats.org/officeDocument/2006/relationships/diagramQuickStyle" Target="../diagrams/quickStyle14.xml"/><Relationship Id="rId10" Type="http://schemas.openxmlformats.org/officeDocument/2006/relationships/diagramQuickStyle" Target="../diagrams/quickStyle13.xml"/><Relationship Id="rId19" Type="http://schemas.openxmlformats.org/officeDocument/2006/relationships/image" Target="../media/image16.emf"/><Relationship Id="rId4" Type="http://schemas.openxmlformats.org/officeDocument/2006/relationships/notesSlide" Target="../notesSlides/notesSlide15.xml"/><Relationship Id="rId9" Type="http://schemas.openxmlformats.org/officeDocument/2006/relationships/diagramLayout" Target="../diagrams/layout13.xml"/><Relationship Id="rId14" Type="http://schemas.openxmlformats.org/officeDocument/2006/relationships/diagramLayout" Target="../diagrams/layout14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13" Type="http://schemas.microsoft.com/office/2007/relationships/diagramDrawing" Target="../diagrams/drawing16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5.xml"/><Relationship Id="rId12" Type="http://schemas.openxmlformats.org/officeDocument/2006/relationships/diagramColors" Target="../diagrams/colors16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5.xml"/><Relationship Id="rId11" Type="http://schemas.openxmlformats.org/officeDocument/2006/relationships/diagramQuickStyle" Target="../diagrams/quickStyle16.xml"/><Relationship Id="rId5" Type="http://schemas.openxmlformats.org/officeDocument/2006/relationships/diagramLayout" Target="../diagrams/layout15.xml"/><Relationship Id="rId15" Type="http://schemas.openxmlformats.org/officeDocument/2006/relationships/image" Target="../media/image18.png"/><Relationship Id="rId10" Type="http://schemas.openxmlformats.org/officeDocument/2006/relationships/diagramLayout" Target="../diagrams/layout16.xml"/><Relationship Id="rId4" Type="http://schemas.openxmlformats.org/officeDocument/2006/relationships/diagramData" Target="../diagrams/data15.xml"/><Relationship Id="rId9" Type="http://schemas.openxmlformats.org/officeDocument/2006/relationships/diagramData" Target="../diagrams/data16.xml"/><Relationship Id="rId1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7.xml"/><Relationship Id="rId13" Type="http://schemas.openxmlformats.org/officeDocument/2006/relationships/diagramData" Target="../diagrams/data18.xml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7.xml"/><Relationship Id="rId17" Type="http://schemas.microsoft.com/office/2007/relationships/diagramDrawing" Target="../diagrams/drawing18.xml"/><Relationship Id="rId2" Type="http://schemas.openxmlformats.org/officeDocument/2006/relationships/tags" Target="../tags/tag91.xml"/><Relationship Id="rId16" Type="http://schemas.openxmlformats.org/officeDocument/2006/relationships/diagramColors" Target="../diagrams/colors1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7.xml"/><Relationship Id="rId5" Type="http://schemas.openxmlformats.org/officeDocument/2006/relationships/oleObject" Target="../embeddings/oleObject25.bin"/><Relationship Id="rId15" Type="http://schemas.openxmlformats.org/officeDocument/2006/relationships/diagramQuickStyle" Target="../diagrams/quickStyle18.xml"/><Relationship Id="rId10" Type="http://schemas.openxmlformats.org/officeDocument/2006/relationships/diagramQuickStyle" Target="../diagrams/quickStyle17.xml"/><Relationship Id="rId19" Type="http://schemas.openxmlformats.org/officeDocument/2006/relationships/image" Target="../media/image20.jpeg"/><Relationship Id="rId4" Type="http://schemas.openxmlformats.org/officeDocument/2006/relationships/notesSlide" Target="../notesSlides/notesSlide16.xml"/><Relationship Id="rId9" Type="http://schemas.openxmlformats.org/officeDocument/2006/relationships/diagramLayout" Target="../diagrams/layout17.xml"/><Relationship Id="rId14" Type="http://schemas.openxmlformats.org/officeDocument/2006/relationships/diagramLayout" Target="../diagrams/layout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9.xml"/><Relationship Id="rId13" Type="http://schemas.openxmlformats.org/officeDocument/2006/relationships/diagramData" Target="../diagrams/data20.xml"/><Relationship Id="rId18" Type="http://schemas.openxmlformats.org/officeDocument/2006/relationships/image" Target="../media/image2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9.xml"/><Relationship Id="rId17" Type="http://schemas.microsoft.com/office/2007/relationships/diagramDrawing" Target="../diagrams/drawing20.xml"/><Relationship Id="rId2" Type="http://schemas.openxmlformats.org/officeDocument/2006/relationships/tags" Target="../tags/tag94.xml"/><Relationship Id="rId16" Type="http://schemas.openxmlformats.org/officeDocument/2006/relationships/diagramColors" Target="../diagrams/colors2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9.xml"/><Relationship Id="rId5" Type="http://schemas.openxmlformats.org/officeDocument/2006/relationships/oleObject" Target="../embeddings/oleObject26.bin"/><Relationship Id="rId15" Type="http://schemas.openxmlformats.org/officeDocument/2006/relationships/diagramQuickStyle" Target="../diagrams/quickStyle20.xml"/><Relationship Id="rId10" Type="http://schemas.openxmlformats.org/officeDocument/2006/relationships/diagramQuickStyle" Target="../diagrams/quickStyle19.xml"/><Relationship Id="rId19" Type="http://schemas.openxmlformats.org/officeDocument/2006/relationships/image" Target="../media/image22.jpeg"/><Relationship Id="rId4" Type="http://schemas.openxmlformats.org/officeDocument/2006/relationships/notesSlide" Target="../notesSlides/notesSlide17.xml"/><Relationship Id="rId9" Type="http://schemas.openxmlformats.org/officeDocument/2006/relationships/diagramLayout" Target="../diagrams/layout19.xml"/><Relationship Id="rId14" Type="http://schemas.openxmlformats.org/officeDocument/2006/relationships/diagramLayout" Target="../diagrams/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1.xml"/><Relationship Id="rId13" Type="http://schemas.openxmlformats.org/officeDocument/2006/relationships/diagramData" Target="../diagrams/data2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21.xml"/><Relationship Id="rId17" Type="http://schemas.microsoft.com/office/2007/relationships/diagramDrawing" Target="../diagrams/drawing22.xml"/><Relationship Id="rId2" Type="http://schemas.openxmlformats.org/officeDocument/2006/relationships/tags" Target="../tags/tag97.xml"/><Relationship Id="rId16" Type="http://schemas.openxmlformats.org/officeDocument/2006/relationships/diagramColors" Target="../diagrams/colors2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21.xml"/><Relationship Id="rId5" Type="http://schemas.openxmlformats.org/officeDocument/2006/relationships/oleObject" Target="../embeddings/oleObject27.bin"/><Relationship Id="rId15" Type="http://schemas.openxmlformats.org/officeDocument/2006/relationships/diagramQuickStyle" Target="../diagrams/quickStyle22.xml"/><Relationship Id="rId10" Type="http://schemas.openxmlformats.org/officeDocument/2006/relationships/diagramQuickStyle" Target="../diagrams/quickStyle21.xml"/><Relationship Id="rId4" Type="http://schemas.openxmlformats.org/officeDocument/2006/relationships/notesSlide" Target="../notesSlides/notesSlide18.xml"/><Relationship Id="rId9" Type="http://schemas.openxmlformats.org/officeDocument/2006/relationships/diagramLayout" Target="../diagrams/layout21.xml"/><Relationship Id="rId14" Type="http://schemas.openxmlformats.org/officeDocument/2006/relationships/diagramLayout" Target="../diagrams/layout2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3.xml"/><Relationship Id="rId13" Type="http://schemas.openxmlformats.org/officeDocument/2006/relationships/diagramData" Target="../diagrams/data2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23.xml"/><Relationship Id="rId17" Type="http://schemas.microsoft.com/office/2007/relationships/diagramDrawing" Target="../diagrams/drawing24.xml"/><Relationship Id="rId2" Type="http://schemas.openxmlformats.org/officeDocument/2006/relationships/tags" Target="../tags/tag100.xml"/><Relationship Id="rId16" Type="http://schemas.openxmlformats.org/officeDocument/2006/relationships/diagramColors" Target="../diagrams/colors2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23.xml"/><Relationship Id="rId5" Type="http://schemas.openxmlformats.org/officeDocument/2006/relationships/oleObject" Target="../embeddings/oleObject28.bin"/><Relationship Id="rId15" Type="http://schemas.openxmlformats.org/officeDocument/2006/relationships/diagramQuickStyle" Target="../diagrams/quickStyle24.xml"/><Relationship Id="rId10" Type="http://schemas.openxmlformats.org/officeDocument/2006/relationships/diagramQuickStyle" Target="../diagrams/quickStyle23.xml"/><Relationship Id="rId4" Type="http://schemas.openxmlformats.org/officeDocument/2006/relationships/notesSlide" Target="../notesSlides/notesSlide19.xml"/><Relationship Id="rId9" Type="http://schemas.openxmlformats.org/officeDocument/2006/relationships/diagramLayout" Target="../diagrams/layout23.xml"/><Relationship Id="rId14" Type="http://schemas.openxmlformats.org/officeDocument/2006/relationships/diagramLayout" Target="../diagrams/layout2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5.xml"/><Relationship Id="rId13" Type="http://schemas.openxmlformats.org/officeDocument/2006/relationships/diagramData" Target="../diagrams/data26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25.xml"/><Relationship Id="rId17" Type="http://schemas.microsoft.com/office/2007/relationships/diagramDrawing" Target="../diagrams/drawing26.xml"/><Relationship Id="rId2" Type="http://schemas.openxmlformats.org/officeDocument/2006/relationships/tags" Target="../tags/tag103.xml"/><Relationship Id="rId16" Type="http://schemas.openxmlformats.org/officeDocument/2006/relationships/diagramColors" Target="../diagrams/colors2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25.xml"/><Relationship Id="rId5" Type="http://schemas.openxmlformats.org/officeDocument/2006/relationships/oleObject" Target="../embeddings/oleObject29.bin"/><Relationship Id="rId15" Type="http://schemas.openxmlformats.org/officeDocument/2006/relationships/diagramQuickStyle" Target="../diagrams/quickStyle26.xml"/><Relationship Id="rId10" Type="http://schemas.openxmlformats.org/officeDocument/2006/relationships/diagramQuickStyle" Target="../diagrams/quickStyle25.xml"/><Relationship Id="rId4" Type="http://schemas.openxmlformats.org/officeDocument/2006/relationships/notesSlide" Target="../notesSlides/notesSlide20.xml"/><Relationship Id="rId9" Type="http://schemas.openxmlformats.org/officeDocument/2006/relationships/diagramLayout" Target="../diagrams/layout25.xml"/><Relationship Id="rId14" Type="http://schemas.openxmlformats.org/officeDocument/2006/relationships/diagramLayout" Target="../diagrams/layout2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7.xml"/><Relationship Id="rId13" Type="http://schemas.openxmlformats.org/officeDocument/2006/relationships/diagramData" Target="../diagrams/data28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27.xml"/><Relationship Id="rId17" Type="http://schemas.microsoft.com/office/2007/relationships/diagramDrawing" Target="../diagrams/drawing28.xml"/><Relationship Id="rId2" Type="http://schemas.openxmlformats.org/officeDocument/2006/relationships/tags" Target="../tags/tag106.xml"/><Relationship Id="rId16" Type="http://schemas.openxmlformats.org/officeDocument/2006/relationships/diagramColors" Target="../diagrams/colors2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27.xml"/><Relationship Id="rId5" Type="http://schemas.openxmlformats.org/officeDocument/2006/relationships/oleObject" Target="../embeddings/oleObject30.bin"/><Relationship Id="rId15" Type="http://schemas.openxmlformats.org/officeDocument/2006/relationships/diagramQuickStyle" Target="../diagrams/quickStyle28.xml"/><Relationship Id="rId10" Type="http://schemas.openxmlformats.org/officeDocument/2006/relationships/diagramQuickStyle" Target="../diagrams/quickStyle27.xml"/><Relationship Id="rId4" Type="http://schemas.openxmlformats.org/officeDocument/2006/relationships/notesSlide" Target="../notesSlides/notesSlide21.xml"/><Relationship Id="rId9" Type="http://schemas.openxmlformats.org/officeDocument/2006/relationships/diagramLayout" Target="../diagrams/layout27.xml"/><Relationship Id="rId14" Type="http://schemas.openxmlformats.org/officeDocument/2006/relationships/diagramLayout" Target="../diagrams/layout2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9.xml"/><Relationship Id="rId13" Type="http://schemas.openxmlformats.org/officeDocument/2006/relationships/diagramData" Target="../diagrams/data30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29.xml"/><Relationship Id="rId17" Type="http://schemas.microsoft.com/office/2007/relationships/diagramDrawing" Target="../diagrams/drawing30.xml"/><Relationship Id="rId2" Type="http://schemas.openxmlformats.org/officeDocument/2006/relationships/tags" Target="../tags/tag109.xml"/><Relationship Id="rId16" Type="http://schemas.openxmlformats.org/officeDocument/2006/relationships/diagramColors" Target="../diagrams/colors3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29.xml"/><Relationship Id="rId5" Type="http://schemas.openxmlformats.org/officeDocument/2006/relationships/oleObject" Target="../embeddings/oleObject31.bin"/><Relationship Id="rId15" Type="http://schemas.openxmlformats.org/officeDocument/2006/relationships/diagramQuickStyle" Target="../diagrams/quickStyle30.xml"/><Relationship Id="rId10" Type="http://schemas.openxmlformats.org/officeDocument/2006/relationships/diagramQuickStyle" Target="../diagrams/quickStyle29.xml"/><Relationship Id="rId4" Type="http://schemas.openxmlformats.org/officeDocument/2006/relationships/notesSlide" Target="../notesSlides/notesSlide22.xml"/><Relationship Id="rId9" Type="http://schemas.openxmlformats.org/officeDocument/2006/relationships/diagramLayout" Target="../diagrams/layout29.xml"/><Relationship Id="rId14" Type="http://schemas.openxmlformats.org/officeDocument/2006/relationships/diagramLayout" Target="../diagrams/layout3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1.xml"/><Relationship Id="rId13" Type="http://schemas.openxmlformats.org/officeDocument/2006/relationships/diagramData" Target="../diagrams/data3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1.xml"/><Relationship Id="rId17" Type="http://schemas.microsoft.com/office/2007/relationships/diagramDrawing" Target="../diagrams/drawing32.xml"/><Relationship Id="rId2" Type="http://schemas.openxmlformats.org/officeDocument/2006/relationships/tags" Target="../tags/tag112.xml"/><Relationship Id="rId16" Type="http://schemas.openxmlformats.org/officeDocument/2006/relationships/diagramColors" Target="../diagrams/colors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1.xml"/><Relationship Id="rId5" Type="http://schemas.openxmlformats.org/officeDocument/2006/relationships/oleObject" Target="../embeddings/oleObject32.bin"/><Relationship Id="rId15" Type="http://schemas.openxmlformats.org/officeDocument/2006/relationships/diagramQuickStyle" Target="../diagrams/quickStyle32.xml"/><Relationship Id="rId10" Type="http://schemas.openxmlformats.org/officeDocument/2006/relationships/diagramQuickStyle" Target="../diagrams/quickStyle31.xml"/><Relationship Id="rId4" Type="http://schemas.openxmlformats.org/officeDocument/2006/relationships/notesSlide" Target="../notesSlides/notesSlide23.xml"/><Relationship Id="rId9" Type="http://schemas.openxmlformats.org/officeDocument/2006/relationships/diagramLayout" Target="../diagrams/layout31.xml"/><Relationship Id="rId14" Type="http://schemas.openxmlformats.org/officeDocument/2006/relationships/diagramLayout" Target="../diagrams/layout3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3.xml"/><Relationship Id="rId13" Type="http://schemas.openxmlformats.org/officeDocument/2006/relationships/diagramData" Target="../diagrams/data3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3.xml"/><Relationship Id="rId17" Type="http://schemas.microsoft.com/office/2007/relationships/diagramDrawing" Target="../diagrams/drawing34.xml"/><Relationship Id="rId2" Type="http://schemas.openxmlformats.org/officeDocument/2006/relationships/tags" Target="../tags/tag115.xml"/><Relationship Id="rId16" Type="http://schemas.openxmlformats.org/officeDocument/2006/relationships/diagramColors" Target="../diagrams/colors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3.xml"/><Relationship Id="rId5" Type="http://schemas.openxmlformats.org/officeDocument/2006/relationships/oleObject" Target="../embeddings/oleObject33.bin"/><Relationship Id="rId15" Type="http://schemas.openxmlformats.org/officeDocument/2006/relationships/diagramQuickStyle" Target="../diagrams/quickStyle34.xml"/><Relationship Id="rId10" Type="http://schemas.openxmlformats.org/officeDocument/2006/relationships/diagramQuickStyle" Target="../diagrams/quickStyle33.xml"/><Relationship Id="rId4" Type="http://schemas.openxmlformats.org/officeDocument/2006/relationships/notesSlide" Target="../notesSlides/notesSlide24.xml"/><Relationship Id="rId9" Type="http://schemas.openxmlformats.org/officeDocument/2006/relationships/diagramLayout" Target="../diagrams/layout33.xml"/><Relationship Id="rId14" Type="http://schemas.openxmlformats.org/officeDocument/2006/relationships/diagramLayout" Target="../diagrams/layout3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5.xml"/><Relationship Id="rId13" Type="http://schemas.openxmlformats.org/officeDocument/2006/relationships/diagramData" Target="../diagrams/data36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5.xml"/><Relationship Id="rId17" Type="http://schemas.microsoft.com/office/2007/relationships/diagramDrawing" Target="../diagrams/drawing36.xml"/><Relationship Id="rId2" Type="http://schemas.openxmlformats.org/officeDocument/2006/relationships/tags" Target="../tags/tag118.xml"/><Relationship Id="rId16" Type="http://schemas.openxmlformats.org/officeDocument/2006/relationships/diagramColors" Target="../diagrams/colors3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5.xml"/><Relationship Id="rId5" Type="http://schemas.openxmlformats.org/officeDocument/2006/relationships/oleObject" Target="../embeddings/oleObject34.bin"/><Relationship Id="rId15" Type="http://schemas.openxmlformats.org/officeDocument/2006/relationships/diagramQuickStyle" Target="../diagrams/quickStyle36.xml"/><Relationship Id="rId10" Type="http://schemas.openxmlformats.org/officeDocument/2006/relationships/diagramQuickStyle" Target="../diagrams/quickStyle35.xml"/><Relationship Id="rId4" Type="http://schemas.openxmlformats.org/officeDocument/2006/relationships/notesSlide" Target="../notesSlides/notesSlide25.xml"/><Relationship Id="rId9" Type="http://schemas.openxmlformats.org/officeDocument/2006/relationships/diagramLayout" Target="../diagrams/layout35.xml"/><Relationship Id="rId14" Type="http://schemas.openxmlformats.org/officeDocument/2006/relationships/diagramLayout" Target="../diagrams/layout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7.xml"/><Relationship Id="rId13" Type="http://schemas.openxmlformats.org/officeDocument/2006/relationships/diagramData" Target="../diagrams/data38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7.xml"/><Relationship Id="rId17" Type="http://schemas.microsoft.com/office/2007/relationships/diagramDrawing" Target="../diagrams/drawing38.xml"/><Relationship Id="rId2" Type="http://schemas.openxmlformats.org/officeDocument/2006/relationships/tags" Target="../tags/tag121.xml"/><Relationship Id="rId16" Type="http://schemas.openxmlformats.org/officeDocument/2006/relationships/diagramColors" Target="../diagrams/colors3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7.xml"/><Relationship Id="rId5" Type="http://schemas.openxmlformats.org/officeDocument/2006/relationships/oleObject" Target="../embeddings/oleObject35.bin"/><Relationship Id="rId15" Type="http://schemas.openxmlformats.org/officeDocument/2006/relationships/diagramQuickStyle" Target="../diagrams/quickStyle38.xml"/><Relationship Id="rId10" Type="http://schemas.openxmlformats.org/officeDocument/2006/relationships/diagramQuickStyle" Target="../diagrams/quickStyle37.xml"/><Relationship Id="rId4" Type="http://schemas.openxmlformats.org/officeDocument/2006/relationships/notesSlide" Target="../notesSlides/notesSlide26.xml"/><Relationship Id="rId9" Type="http://schemas.openxmlformats.org/officeDocument/2006/relationships/diagramLayout" Target="../diagrams/layout37.xml"/><Relationship Id="rId14" Type="http://schemas.openxmlformats.org/officeDocument/2006/relationships/diagramLayout" Target="../diagrams/layout3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9.xml"/><Relationship Id="rId13" Type="http://schemas.openxmlformats.org/officeDocument/2006/relationships/diagramData" Target="../diagrams/data40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9.xml"/><Relationship Id="rId17" Type="http://schemas.microsoft.com/office/2007/relationships/diagramDrawing" Target="../diagrams/drawing40.xml"/><Relationship Id="rId2" Type="http://schemas.openxmlformats.org/officeDocument/2006/relationships/tags" Target="../tags/tag124.xml"/><Relationship Id="rId16" Type="http://schemas.openxmlformats.org/officeDocument/2006/relationships/diagramColors" Target="../diagrams/colors4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9.xml"/><Relationship Id="rId5" Type="http://schemas.openxmlformats.org/officeDocument/2006/relationships/oleObject" Target="../embeddings/oleObject36.bin"/><Relationship Id="rId15" Type="http://schemas.openxmlformats.org/officeDocument/2006/relationships/diagramQuickStyle" Target="../diagrams/quickStyle40.xml"/><Relationship Id="rId10" Type="http://schemas.openxmlformats.org/officeDocument/2006/relationships/diagramQuickStyle" Target="../diagrams/quickStyle39.xml"/><Relationship Id="rId4" Type="http://schemas.openxmlformats.org/officeDocument/2006/relationships/notesSlide" Target="../notesSlides/notesSlide27.xml"/><Relationship Id="rId9" Type="http://schemas.openxmlformats.org/officeDocument/2006/relationships/diagramLayout" Target="../diagrams/layout39.xml"/><Relationship Id="rId14" Type="http://schemas.openxmlformats.org/officeDocument/2006/relationships/diagramLayout" Target="../diagrams/layout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1.xml"/><Relationship Id="rId13" Type="http://schemas.openxmlformats.org/officeDocument/2006/relationships/diagramData" Target="../diagrams/data4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41.xml"/><Relationship Id="rId17" Type="http://schemas.microsoft.com/office/2007/relationships/diagramDrawing" Target="../diagrams/drawing42.xml"/><Relationship Id="rId2" Type="http://schemas.openxmlformats.org/officeDocument/2006/relationships/tags" Target="../tags/tag127.xml"/><Relationship Id="rId16" Type="http://schemas.openxmlformats.org/officeDocument/2006/relationships/diagramColors" Target="../diagrams/colors4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41.xml"/><Relationship Id="rId5" Type="http://schemas.openxmlformats.org/officeDocument/2006/relationships/oleObject" Target="../embeddings/oleObject37.bin"/><Relationship Id="rId15" Type="http://schemas.openxmlformats.org/officeDocument/2006/relationships/diagramQuickStyle" Target="../diagrams/quickStyle42.xml"/><Relationship Id="rId10" Type="http://schemas.openxmlformats.org/officeDocument/2006/relationships/diagramQuickStyle" Target="../diagrams/quickStyle41.xml"/><Relationship Id="rId4" Type="http://schemas.openxmlformats.org/officeDocument/2006/relationships/notesSlide" Target="../notesSlides/notesSlide28.xml"/><Relationship Id="rId9" Type="http://schemas.openxmlformats.org/officeDocument/2006/relationships/diagramLayout" Target="../diagrams/layout41.xml"/><Relationship Id="rId14" Type="http://schemas.openxmlformats.org/officeDocument/2006/relationships/diagramLayout" Target="../diagrams/layout4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3.xml"/><Relationship Id="rId13" Type="http://schemas.openxmlformats.org/officeDocument/2006/relationships/diagramData" Target="../diagrams/data4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43.xml"/><Relationship Id="rId17" Type="http://schemas.microsoft.com/office/2007/relationships/diagramDrawing" Target="../diagrams/drawing44.xml"/><Relationship Id="rId2" Type="http://schemas.openxmlformats.org/officeDocument/2006/relationships/tags" Target="../tags/tag130.xml"/><Relationship Id="rId16" Type="http://schemas.openxmlformats.org/officeDocument/2006/relationships/diagramColors" Target="../diagrams/colors4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43.xml"/><Relationship Id="rId5" Type="http://schemas.openxmlformats.org/officeDocument/2006/relationships/oleObject" Target="../embeddings/oleObject38.bin"/><Relationship Id="rId15" Type="http://schemas.openxmlformats.org/officeDocument/2006/relationships/diagramQuickStyle" Target="../diagrams/quickStyle44.xml"/><Relationship Id="rId10" Type="http://schemas.openxmlformats.org/officeDocument/2006/relationships/diagramQuickStyle" Target="../diagrams/quickStyle43.xml"/><Relationship Id="rId4" Type="http://schemas.openxmlformats.org/officeDocument/2006/relationships/notesSlide" Target="../notesSlides/notesSlide29.xml"/><Relationship Id="rId9" Type="http://schemas.openxmlformats.org/officeDocument/2006/relationships/diagramLayout" Target="../diagrams/layout43.xml"/><Relationship Id="rId14" Type="http://schemas.openxmlformats.org/officeDocument/2006/relationships/diagramLayout" Target="../diagrams/layout4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5.xml"/><Relationship Id="rId13" Type="http://schemas.openxmlformats.org/officeDocument/2006/relationships/diagramData" Target="../diagrams/data46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45.xml"/><Relationship Id="rId17" Type="http://schemas.microsoft.com/office/2007/relationships/diagramDrawing" Target="../diagrams/drawing46.xml"/><Relationship Id="rId2" Type="http://schemas.openxmlformats.org/officeDocument/2006/relationships/tags" Target="../tags/tag133.xml"/><Relationship Id="rId16" Type="http://schemas.openxmlformats.org/officeDocument/2006/relationships/diagramColors" Target="../diagrams/colors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45.xml"/><Relationship Id="rId5" Type="http://schemas.openxmlformats.org/officeDocument/2006/relationships/oleObject" Target="../embeddings/oleObject39.bin"/><Relationship Id="rId15" Type="http://schemas.openxmlformats.org/officeDocument/2006/relationships/diagramQuickStyle" Target="../diagrams/quickStyle46.xml"/><Relationship Id="rId10" Type="http://schemas.openxmlformats.org/officeDocument/2006/relationships/diagramQuickStyle" Target="../diagrams/quickStyle45.xml"/><Relationship Id="rId4" Type="http://schemas.openxmlformats.org/officeDocument/2006/relationships/notesSlide" Target="../notesSlides/notesSlide30.xml"/><Relationship Id="rId9" Type="http://schemas.openxmlformats.org/officeDocument/2006/relationships/diagramLayout" Target="../diagrams/layout45.xml"/><Relationship Id="rId14" Type="http://schemas.openxmlformats.org/officeDocument/2006/relationships/diagramLayout" Target="../diagrams/layout4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7.xml"/><Relationship Id="rId13" Type="http://schemas.openxmlformats.org/officeDocument/2006/relationships/diagramData" Target="../diagrams/data48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47.xml"/><Relationship Id="rId17" Type="http://schemas.microsoft.com/office/2007/relationships/diagramDrawing" Target="../diagrams/drawing48.xml"/><Relationship Id="rId2" Type="http://schemas.openxmlformats.org/officeDocument/2006/relationships/tags" Target="../tags/tag136.xml"/><Relationship Id="rId16" Type="http://schemas.openxmlformats.org/officeDocument/2006/relationships/diagramColors" Target="../diagrams/colors4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47.xml"/><Relationship Id="rId5" Type="http://schemas.openxmlformats.org/officeDocument/2006/relationships/oleObject" Target="../embeddings/oleObject40.bin"/><Relationship Id="rId15" Type="http://schemas.openxmlformats.org/officeDocument/2006/relationships/diagramQuickStyle" Target="../diagrams/quickStyle48.xml"/><Relationship Id="rId10" Type="http://schemas.openxmlformats.org/officeDocument/2006/relationships/diagramQuickStyle" Target="../diagrams/quickStyle47.xml"/><Relationship Id="rId4" Type="http://schemas.openxmlformats.org/officeDocument/2006/relationships/notesSlide" Target="../notesSlides/notesSlide31.xml"/><Relationship Id="rId9" Type="http://schemas.openxmlformats.org/officeDocument/2006/relationships/diagramLayout" Target="../diagrams/layout47.xml"/><Relationship Id="rId14" Type="http://schemas.openxmlformats.org/officeDocument/2006/relationships/diagramLayout" Target="../diagrams/layout4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9.xml"/><Relationship Id="rId13" Type="http://schemas.openxmlformats.org/officeDocument/2006/relationships/diagramData" Target="../diagrams/data50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49.xml"/><Relationship Id="rId17" Type="http://schemas.microsoft.com/office/2007/relationships/diagramDrawing" Target="../diagrams/drawing50.xml"/><Relationship Id="rId2" Type="http://schemas.openxmlformats.org/officeDocument/2006/relationships/tags" Target="../tags/tag139.xml"/><Relationship Id="rId16" Type="http://schemas.openxmlformats.org/officeDocument/2006/relationships/diagramColors" Target="../diagrams/colors5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49.xml"/><Relationship Id="rId5" Type="http://schemas.openxmlformats.org/officeDocument/2006/relationships/oleObject" Target="../embeddings/oleObject41.bin"/><Relationship Id="rId15" Type="http://schemas.openxmlformats.org/officeDocument/2006/relationships/diagramQuickStyle" Target="../diagrams/quickStyle50.xml"/><Relationship Id="rId10" Type="http://schemas.openxmlformats.org/officeDocument/2006/relationships/diagramQuickStyle" Target="../diagrams/quickStyle49.xml"/><Relationship Id="rId4" Type="http://schemas.openxmlformats.org/officeDocument/2006/relationships/notesSlide" Target="../notesSlides/notesSlide32.xml"/><Relationship Id="rId9" Type="http://schemas.openxmlformats.org/officeDocument/2006/relationships/diagramLayout" Target="../diagrams/layout49.xml"/><Relationship Id="rId14" Type="http://schemas.openxmlformats.org/officeDocument/2006/relationships/diagramLayout" Target="../diagrams/layout5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1.xml"/><Relationship Id="rId13" Type="http://schemas.openxmlformats.org/officeDocument/2006/relationships/diagramData" Target="../diagrams/data5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51.xml"/><Relationship Id="rId17" Type="http://schemas.microsoft.com/office/2007/relationships/diagramDrawing" Target="../diagrams/drawing52.xml"/><Relationship Id="rId2" Type="http://schemas.openxmlformats.org/officeDocument/2006/relationships/tags" Target="../tags/tag142.xml"/><Relationship Id="rId16" Type="http://schemas.openxmlformats.org/officeDocument/2006/relationships/diagramColors" Target="../diagrams/colors5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51.xml"/><Relationship Id="rId5" Type="http://schemas.openxmlformats.org/officeDocument/2006/relationships/oleObject" Target="../embeddings/oleObject42.bin"/><Relationship Id="rId15" Type="http://schemas.openxmlformats.org/officeDocument/2006/relationships/diagramQuickStyle" Target="../diagrams/quickStyle52.xml"/><Relationship Id="rId10" Type="http://schemas.openxmlformats.org/officeDocument/2006/relationships/diagramQuickStyle" Target="../diagrams/quickStyle51.xml"/><Relationship Id="rId4" Type="http://schemas.openxmlformats.org/officeDocument/2006/relationships/notesSlide" Target="../notesSlides/notesSlide33.xml"/><Relationship Id="rId9" Type="http://schemas.openxmlformats.org/officeDocument/2006/relationships/diagramLayout" Target="../diagrams/layout51.xml"/><Relationship Id="rId14" Type="http://schemas.openxmlformats.org/officeDocument/2006/relationships/diagramLayout" Target="../diagrams/layout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" Type="http://schemas.openxmlformats.org/officeDocument/2006/relationships/tags" Target="../tags/tag62.xml"/><Relationship Id="rId16" Type="http://schemas.openxmlformats.org/officeDocument/2006/relationships/diagramColors" Target="../diagrams/colors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13.bin"/><Relationship Id="rId1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4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tags" Target="../tags/tag65.xml"/><Relationship Id="rId16" Type="http://schemas.openxmlformats.org/officeDocument/2006/relationships/diagramColors" Target="../diagrams/colors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14.bin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5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tags" Target="../tags/tag68.xml"/><Relationship Id="rId16" Type="http://schemas.openxmlformats.org/officeDocument/2006/relationships/diagramColors" Target="../diagrams/colors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5.xml"/><Relationship Id="rId5" Type="http://schemas.openxmlformats.org/officeDocument/2006/relationships/oleObject" Target="../embeddings/oleObject15.bin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notesSlide" Target="../notesSlides/notesSlide6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" Type="http://schemas.openxmlformats.org/officeDocument/2006/relationships/tags" Target="../tags/tag71.xml"/><Relationship Id="rId16" Type="http://schemas.openxmlformats.org/officeDocument/2006/relationships/diagramColors" Target="../diagrams/colors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7.xml"/><Relationship Id="rId5" Type="http://schemas.openxmlformats.org/officeDocument/2006/relationships/oleObject" Target="../embeddings/oleObject16.bin"/><Relationship Id="rId15" Type="http://schemas.openxmlformats.org/officeDocument/2006/relationships/diagramQuickStyle" Target="../diagrams/quickStyle8.xml"/><Relationship Id="rId10" Type="http://schemas.openxmlformats.org/officeDocument/2006/relationships/diagramQuickStyle" Target="../diagrams/quickStyle7.xml"/><Relationship Id="rId4" Type="http://schemas.openxmlformats.org/officeDocument/2006/relationships/notesSlide" Target="../notesSlides/notesSlide7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diagramDrawing" Target="../diagrams/drawing9.xml"/><Relationship Id="rId18" Type="http://schemas.microsoft.com/office/2007/relationships/diagramDrawing" Target="../diagrams/drawing10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12" Type="http://schemas.openxmlformats.org/officeDocument/2006/relationships/diagramColors" Target="../diagrams/colors9.xml"/><Relationship Id="rId17" Type="http://schemas.openxmlformats.org/officeDocument/2006/relationships/diagramColors" Target="../diagrams/colors10.xml"/><Relationship Id="rId2" Type="http://schemas.openxmlformats.org/officeDocument/2006/relationships/tags" Target="../tags/tag74.xml"/><Relationship Id="rId16" Type="http://schemas.openxmlformats.org/officeDocument/2006/relationships/diagramQuickStyle" Target="../diagrams/quickStyle1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11" Type="http://schemas.openxmlformats.org/officeDocument/2006/relationships/diagramQuickStyle" Target="../diagrams/quickStyle9.xml"/><Relationship Id="rId5" Type="http://schemas.openxmlformats.org/officeDocument/2006/relationships/oleObject" Target="../embeddings/oleObject17.bin"/><Relationship Id="rId15" Type="http://schemas.openxmlformats.org/officeDocument/2006/relationships/diagramLayout" Target="../diagrams/layout10.xml"/><Relationship Id="rId10" Type="http://schemas.openxmlformats.org/officeDocument/2006/relationships/diagramLayout" Target="../diagrams/layout9.xml"/><Relationship Id="rId4" Type="http://schemas.openxmlformats.org/officeDocument/2006/relationships/notesSlide" Target="../notesSlides/notesSlide8.xml"/><Relationship Id="rId9" Type="http://schemas.openxmlformats.org/officeDocument/2006/relationships/diagramData" Target="../diagrams/data9.xml"/><Relationship Id="rId14" Type="http://schemas.openxmlformats.org/officeDocument/2006/relationships/diagramData" Target="../diagrams/data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6.xml"/><Relationship Id="rId7" Type="http://schemas.openxmlformats.org/officeDocument/2006/relationships/image" Target="../media/image6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Avance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Modo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Carreter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Junio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2015 </a:t>
            </a:r>
            <a:r>
              <a:rPr lang="es-ES" dirty="0" err="1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Rumichaca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 Pasto</a:t>
            </a:r>
            <a:endParaRPr lang="es-CO" dirty="0"/>
          </a:p>
        </p:txBody>
      </p:sp>
      <p:pic>
        <p:nvPicPr>
          <p:cNvPr id="32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33" name="Imagen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34" name="CuadroTexto 33"/>
          <p:cNvSpPr txBox="1"/>
          <p:nvPr/>
        </p:nvSpPr>
        <p:spPr>
          <a:xfrm>
            <a:off x="2400301" y="1425328"/>
            <a:ext cx="648130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 smtClean="0">
                <a:solidFill>
                  <a:schemeClr val="dk1"/>
                </a:solidFill>
              </a:rPr>
              <a:t>Se </a:t>
            </a:r>
            <a:r>
              <a:rPr lang="es-MX" sz="1500" dirty="0">
                <a:solidFill>
                  <a:schemeClr val="dk1"/>
                </a:solidFill>
              </a:rPr>
              <a:t>llevó a cabo la firma del Contrato de </a:t>
            </a:r>
            <a:r>
              <a:rPr lang="es-MX" sz="1500" dirty="0" smtClean="0">
                <a:solidFill>
                  <a:schemeClr val="dk1"/>
                </a:solidFill>
              </a:rPr>
              <a:t>Concesión el 11 de septiembre de 2015 e </a:t>
            </a:r>
            <a:r>
              <a:rPr lang="es-MX" sz="1500" dirty="0">
                <a:solidFill>
                  <a:schemeClr val="dk1"/>
                </a:solidFill>
              </a:rPr>
              <a:t>Interventoría </a:t>
            </a:r>
            <a:r>
              <a:rPr lang="es-MX" sz="1500" dirty="0" smtClean="0">
                <a:solidFill>
                  <a:schemeClr val="dk1"/>
                </a:solidFill>
              </a:rPr>
              <a:t>21 de octubre de 2015.</a:t>
            </a:r>
            <a:endParaRPr lang="es-MX" sz="1500" dirty="0">
              <a:solidFill>
                <a:schemeClr val="dk1"/>
              </a:solidFill>
            </a:endParaRPr>
          </a:p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Se realizó la entrega de la Infraestructura vial existente al Concesionario para su operación y mantenimiento a partir de la fecha de inicio del Contrato de Concesión</a:t>
            </a:r>
            <a:r>
              <a:rPr lang="es-MX" sz="1500" dirty="0" smtClean="0"/>
              <a:t>. (27 de octubre de 2015)</a:t>
            </a:r>
            <a:endParaRPr lang="es-MX" sz="1500" dirty="0"/>
          </a:p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Se </a:t>
            </a:r>
            <a:r>
              <a:rPr lang="es-MX" sz="1500" dirty="0" smtClean="0"/>
              <a:t>realizó el 28 de octubre de 2015, </a:t>
            </a:r>
            <a:r>
              <a:rPr lang="es-MX" sz="1500" dirty="0"/>
              <a:t>entrega de la estación del peaje “El Placer” para operación y recaudo por parte del </a:t>
            </a:r>
            <a:r>
              <a:rPr lang="es-MX" sz="1500" dirty="0" smtClean="0"/>
              <a:t>Concesionario. </a:t>
            </a:r>
            <a:endParaRPr lang="es-MX" sz="1500" dirty="0"/>
          </a:p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Se dio inicio a las actividades previas del área social, ambiental y predial de la fase de </a:t>
            </a:r>
            <a:r>
              <a:rPr lang="es-MX" sz="1500" dirty="0" err="1"/>
              <a:t>Preconstrucción</a:t>
            </a:r>
            <a:r>
              <a:rPr lang="es-MX" sz="1500" dirty="0"/>
              <a:t>.</a:t>
            </a:r>
          </a:p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El Concesionario llevó acabo contrato para la ejecución de los estudios de trazado, diseño geométrico y estudios de detalle para el proyecto.</a:t>
            </a:r>
          </a:p>
          <a:p>
            <a:pPr marL="657225" lvl="1" indent="-285750" algn="just">
              <a:buFont typeface="Arial" panose="020B0604020202020204" pitchFamily="34" charset="0"/>
              <a:buChar char="•"/>
            </a:pPr>
            <a:r>
              <a:rPr lang="es-MX" sz="1500" dirty="0"/>
              <a:t>Se realizó socialización del proyecto a las alcaldías y gobernaciones salientes. </a:t>
            </a:r>
          </a:p>
          <a:p>
            <a:pPr marL="657225" lvl="1" indent="-285750" algn="just" defTabSz="742950">
              <a:buFont typeface="Arial" panose="020B0604020202020204" pitchFamily="34" charset="0"/>
              <a:buChar char="•"/>
            </a:pPr>
            <a:r>
              <a:rPr lang="es-MX" sz="1500" dirty="0"/>
              <a:t>El concesionario excedió los aportes </a:t>
            </a:r>
            <a:r>
              <a:rPr lang="es-MX" sz="1500" dirty="0" err="1"/>
              <a:t>equity</a:t>
            </a:r>
            <a:r>
              <a:rPr lang="es-MX" sz="1500" dirty="0"/>
              <a:t> establecidos en el contrato.</a:t>
            </a:r>
          </a:p>
          <a:p>
            <a:pPr marL="657225" lvl="1" indent="-285750" algn="just" defTabSz="742950">
              <a:buFont typeface="Arial" panose="020B0604020202020204" pitchFamily="34" charset="0"/>
              <a:buChar char="•"/>
            </a:pPr>
            <a:r>
              <a:rPr lang="es-CO" sz="1500" dirty="0" smtClean="0"/>
              <a:t>Se eligen los miembros del Panel de Amigable </a:t>
            </a:r>
            <a:r>
              <a:rPr lang="es-CO" sz="1500" dirty="0"/>
              <a:t>Componedor: ​Concesionario: Ing. German Pardo Albarracín, ANI: Ing. Edgar Alberto Fonseca Herrera, Cámara Comercio: </a:t>
            </a:r>
            <a:r>
              <a:rPr lang="en-US" sz="1500" dirty="0"/>
              <a:t>César </a:t>
            </a:r>
            <a:r>
              <a:rPr lang="en-US" sz="1500" dirty="0" err="1"/>
              <a:t>Negrette</a:t>
            </a:r>
            <a:r>
              <a:rPr lang="en-US" sz="1500" dirty="0"/>
              <a:t> </a:t>
            </a:r>
            <a:r>
              <a:rPr lang="en-US" sz="1500" dirty="0" err="1"/>
              <a:t>Mosquera</a:t>
            </a:r>
            <a:r>
              <a:rPr lang="en-US" sz="1500" dirty="0"/>
              <a:t> </a:t>
            </a:r>
            <a:r>
              <a:rPr lang="es-CO" sz="1500" dirty="0" smtClean="0">
                <a:solidFill>
                  <a:schemeClr val="dk1"/>
                </a:solidFill>
              </a:rPr>
              <a:t>.</a:t>
            </a:r>
            <a:endParaRPr lang="es-CO" sz="15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59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023647" y="371430"/>
            <a:ext cx="5138359" cy="454562"/>
          </a:xfrm>
          <a:prstGeom prst="rect">
            <a:avLst/>
          </a:prstGeom>
          <a:noFill/>
        </p:spPr>
        <p:txBody>
          <a:bodyPr wrap="none" lIns="84406" tIns="42203" rIns="84406" bIns="42203">
            <a:spAutoFit/>
          </a:bodyPr>
          <a:lstStyle/>
          <a:p>
            <a:pPr algn="ctr"/>
            <a:r>
              <a:rPr lang="es-ES" sz="24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</a:t>
            </a:r>
            <a:r>
              <a:rPr lang="es-ES" sz="24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2015 Santana – Mocoa - Neiva</a:t>
            </a:r>
            <a:endParaRPr lang="es-ES" sz="24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</p:txBody>
      </p:sp>
      <p:pic>
        <p:nvPicPr>
          <p:cNvPr id="3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2" cstate="print"/>
          <a:srcRect l="73616"/>
          <a:stretch>
            <a:fillRect/>
          </a:stretch>
        </p:blipFill>
        <p:spPr bwMode="auto">
          <a:xfrm>
            <a:off x="-14356" y="223569"/>
            <a:ext cx="1994068" cy="6370662"/>
          </a:xfrm>
          <a:prstGeom prst="rect">
            <a:avLst/>
          </a:prstGeom>
          <a:noFill/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7059" y="-323217"/>
            <a:ext cx="1516303" cy="6255032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444994" y="1033151"/>
            <a:ext cx="5982744" cy="3275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s-MX" sz="1292" b="1" dirty="0">
              <a:solidFill>
                <a:srgbClr val="FF0000"/>
              </a:solidFill>
            </a:endParaRP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Se llevó a cabo la firma del Contrato de Concesión e Interventoría. 23 de septiembre de 2015.</a:t>
            </a: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Se realizó la entrega de la Infraestructura vial existente al Concesionario para su operación y mantenimiento a partir de la fecha de inicio del Contrato de Concesión. 23 de septiembre de 2015.</a:t>
            </a: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Se dio inicio a las actividades previas del área social, ambiental y predial de la fase de Preconstrucción.</a:t>
            </a: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El Concesionario llevó acabo contrato para la ejecución de los estudios de trazado, diseño geométrico y estudios de detalle para el proyecto.</a:t>
            </a: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Se realizó socialización del a las alcaldías y gobernaciones salientes. </a:t>
            </a:r>
          </a:p>
          <a:p>
            <a:pPr marL="606684" lvl="1" indent="-263776" algn="just">
              <a:buFont typeface="Arial" panose="020B0604020202020204" pitchFamily="34" charset="0"/>
              <a:buChar char="•"/>
            </a:pPr>
            <a:r>
              <a:rPr lang="es-MX" sz="1385" dirty="0"/>
              <a:t>Se realizaron reunión de socialización con la comunidad para presentar el proyecto.</a:t>
            </a:r>
          </a:p>
          <a:p>
            <a:pPr marL="606684" lvl="1" indent="-263776" algn="just" defTabSz="685817">
              <a:buFont typeface="Arial" panose="020B0604020202020204" pitchFamily="34" charset="0"/>
              <a:buChar char="•"/>
            </a:pPr>
            <a:r>
              <a:rPr lang="es-MX" sz="1385" dirty="0"/>
              <a:t>El concesionario excedió los aportes </a:t>
            </a:r>
            <a:r>
              <a:rPr lang="es-MX" sz="1385" dirty="0" err="1"/>
              <a:t>equity</a:t>
            </a:r>
            <a:r>
              <a:rPr lang="es-MX" sz="1385" dirty="0"/>
              <a:t> establecidos en el contrato.</a:t>
            </a:r>
          </a:p>
          <a:p>
            <a:pPr marL="606684" lvl="1" indent="-263776" algn="just" defTabSz="685817">
              <a:buFont typeface="Arial" panose="020B0604020202020204" pitchFamily="34" charset="0"/>
              <a:buChar char="•"/>
            </a:pPr>
            <a:r>
              <a:rPr lang="es-CO" sz="1385" dirty="0"/>
              <a:t>Se eligen los miembros del Panel de Amigable Componedor.</a:t>
            </a:r>
          </a:p>
        </p:txBody>
      </p:sp>
    </p:spTree>
    <p:extLst>
      <p:ext uri="{BB962C8B-B14F-4D97-AF65-F5344CB8AC3E}">
        <p14:creationId xmlns:p14="http://schemas.microsoft.com/office/powerpoint/2010/main" val="38396689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2015 </a:t>
            </a:r>
            <a:r>
              <a:rPr lang="es-ES" dirty="0" err="1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Mulaló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 Loboguerrero</a:t>
            </a:r>
            <a:endParaRPr lang="es-CO" dirty="0"/>
          </a:p>
        </p:txBody>
      </p:sp>
      <p:pic>
        <p:nvPicPr>
          <p:cNvPr id="32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33" name="Imagen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34" name="CuadroTexto 33"/>
          <p:cNvSpPr txBox="1"/>
          <p:nvPr/>
        </p:nvSpPr>
        <p:spPr>
          <a:xfrm>
            <a:off x="2371587" y="1560565"/>
            <a:ext cx="594827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dirty="0" smtClean="0"/>
              <a:t>APP MULALO: en enero 22 de 2015  s</a:t>
            </a:r>
            <a:r>
              <a:rPr lang="es-CO" dirty="0" smtClean="0"/>
              <a:t>e </a:t>
            </a:r>
            <a:r>
              <a:rPr lang="es-419" dirty="0" smtClean="0"/>
              <a:t>suscribió el </a:t>
            </a:r>
            <a:r>
              <a:rPr lang="es-CO" dirty="0" smtClean="0"/>
              <a:t>Contrato </a:t>
            </a:r>
            <a:r>
              <a:rPr lang="es-CO" dirty="0"/>
              <a:t>de Concesión </a:t>
            </a:r>
            <a:r>
              <a:rPr lang="es-CO" dirty="0" smtClean="0"/>
              <a:t>No.</a:t>
            </a:r>
            <a:r>
              <a:rPr lang="es-419" dirty="0" smtClean="0"/>
              <a:t>001, </a:t>
            </a:r>
            <a:r>
              <a:rPr lang="es-CO" dirty="0" smtClean="0"/>
              <a:t> </a:t>
            </a:r>
            <a:r>
              <a:rPr lang="es-CO" dirty="0"/>
              <a:t>el </a:t>
            </a:r>
            <a:r>
              <a:rPr lang="es-CO" dirty="0" smtClean="0"/>
              <a:t>1</a:t>
            </a:r>
            <a:r>
              <a:rPr lang="es-419" dirty="0" smtClean="0"/>
              <a:t>7</a:t>
            </a:r>
            <a:r>
              <a:rPr lang="es-CO" dirty="0" smtClean="0"/>
              <a:t> </a:t>
            </a:r>
            <a:r>
              <a:rPr lang="es-CO" dirty="0"/>
              <a:t>de </a:t>
            </a:r>
            <a:r>
              <a:rPr lang="es-419" dirty="0" smtClean="0"/>
              <a:t>marzo</a:t>
            </a:r>
            <a:r>
              <a:rPr lang="es-CO" dirty="0" smtClean="0"/>
              <a:t> </a:t>
            </a:r>
            <a:r>
              <a:rPr lang="es-CO" dirty="0"/>
              <a:t>de 2015, se </a:t>
            </a:r>
            <a:r>
              <a:rPr lang="es-419" dirty="0" smtClean="0"/>
              <a:t>firmo el acta</a:t>
            </a:r>
            <a:r>
              <a:rPr lang="es-CO" dirty="0" smtClean="0"/>
              <a:t> </a:t>
            </a:r>
            <a:r>
              <a:rPr lang="es-CO" dirty="0"/>
              <a:t>de </a:t>
            </a:r>
            <a:r>
              <a:rPr lang="es-419" dirty="0" smtClean="0"/>
              <a:t>inicio; también se firmo el contrato de Interventoría N° 049; </a:t>
            </a:r>
          </a:p>
          <a:p>
            <a:r>
              <a:rPr lang="es-419" dirty="0" smtClean="0"/>
              <a:t>S</a:t>
            </a:r>
            <a:r>
              <a:rPr lang="es-CO" dirty="0" smtClean="0"/>
              <a:t>e </a:t>
            </a:r>
            <a:r>
              <a:rPr lang="es-CO" dirty="0"/>
              <a:t>realizaron los giros </a:t>
            </a:r>
            <a:r>
              <a:rPr lang="es-CO" dirty="0" err="1"/>
              <a:t>equity</a:t>
            </a:r>
            <a:r>
              <a:rPr lang="es-CO" dirty="0"/>
              <a:t> y fondeos </a:t>
            </a:r>
            <a:r>
              <a:rPr lang="es-CO" dirty="0" smtClean="0"/>
              <a:t>Contra</a:t>
            </a:r>
            <a:r>
              <a:rPr lang="es-419" dirty="0" err="1" smtClean="0"/>
              <a:t>ctuales</a:t>
            </a:r>
            <a:r>
              <a:rPr lang="es-419" dirty="0" smtClean="0"/>
              <a:t>; en materia Técnica se realizo la entrega y revisión de: Diseño Geométrico, Plan de Adquisición </a:t>
            </a:r>
            <a:r>
              <a:rPr lang="es-419" dirty="0"/>
              <a:t>P</a:t>
            </a:r>
            <a:r>
              <a:rPr lang="es-419" dirty="0" smtClean="0"/>
              <a:t>redial, Plan de Traslado y Manejo de Redes, Plan de  </a:t>
            </a:r>
            <a:r>
              <a:rPr lang="es-419" dirty="0"/>
              <a:t>G</a:t>
            </a:r>
            <a:r>
              <a:rPr lang="es-419" dirty="0" smtClean="0"/>
              <a:t>estión Socio - Predial, Plan de Contingencias y Plan de Obras, entre otros.</a:t>
            </a:r>
          </a:p>
          <a:p>
            <a:endParaRPr lang="es-419" dirty="0"/>
          </a:p>
          <a:p>
            <a:endParaRPr lang="es-419" dirty="0" smtClean="0"/>
          </a:p>
          <a:p>
            <a:endParaRPr lang="es-419" dirty="0"/>
          </a:p>
          <a:p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91892" y="4213880"/>
            <a:ext cx="3543758" cy="192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24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2015 Loboguerrero Buga</a:t>
            </a:r>
            <a:endParaRPr lang="es-CO" dirty="0"/>
          </a:p>
        </p:txBody>
      </p:sp>
      <p:pic>
        <p:nvPicPr>
          <p:cNvPr id="32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33" name="Imagen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graphicFrame>
        <p:nvGraphicFramePr>
          <p:cNvPr id="7" name="Tabla 6"/>
          <p:cNvGraphicFramePr>
            <a:graphicFrameLocks noGrp="1"/>
          </p:cNvGraphicFramePr>
          <p:nvPr>
            <p:extLst/>
          </p:nvPr>
        </p:nvGraphicFramePr>
        <p:xfrm>
          <a:off x="2495694" y="1649294"/>
          <a:ext cx="5849816" cy="241671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5849816"/>
              </a:tblGrid>
              <a:tr h="2276222">
                <a:tc>
                  <a:txBody>
                    <a:bodyPr/>
                    <a:lstStyle/>
                    <a:p>
                      <a:pPr marL="0" marR="0" lvl="1" indent="0" algn="just" defTabSz="7429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terminó etapa de construcción del proyecto, rehabilitando un total de 55.42 km de vía y estabilizando 14 sitios vulnerables sobre la misma.</a:t>
                      </a:r>
                    </a:p>
                    <a:p>
                      <a:pPr marL="0" marR="0" lvl="1" indent="0" algn="just" defTabSz="7429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600" b="0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just" defTabSz="7429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 23 de Octubre de 2015 se alcanzó el VPIP (Valor Presente por los Ingresos de los Peajes) solicitado por el Concesionario en su propuesta económica.</a:t>
                      </a:r>
                    </a:p>
                    <a:p>
                      <a:pPr marL="0" marR="0" lvl="1" indent="0" algn="just" defTabSz="7429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endParaRPr lang="es-ES" sz="16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endParaRPr lang="es-ES" sz="14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792" marR="8792" marT="8792" marB="0" anchor="ctr"/>
                </a:tc>
              </a:tr>
            </a:tbl>
          </a:graphicData>
        </a:graphic>
      </p:graphicFrame>
      <p:pic>
        <p:nvPicPr>
          <p:cNvPr id="8" name="Picture 6" descr="IMG_186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527" y="3727934"/>
            <a:ext cx="4121240" cy="2412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5538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40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42" name="Imagen 4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44" name="Rectángulo 43"/>
          <p:cNvSpPr/>
          <p:nvPr/>
        </p:nvSpPr>
        <p:spPr>
          <a:xfrm>
            <a:off x="3756027" y="2699339"/>
            <a:ext cx="387798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Metas 2016</a:t>
            </a:r>
            <a:endParaRPr lang="es-ES" sz="54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2200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opayán-Santander de Quilichao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86217" y="4473688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1157" y="2388973"/>
            <a:ext cx="2815380" cy="1981652"/>
          </a:xfrm>
          <a:prstGeom prst="rect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047" y="4473688"/>
            <a:ext cx="2791001" cy="2016224"/>
          </a:xfrm>
          <a:prstGeom prst="rect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433575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228739" y="218758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835579" y="1172149"/>
            <a:ext cx="5831902" cy="759682"/>
            <a:chOff x="-13251" y="77511"/>
            <a:chExt cx="5115451" cy="921600"/>
          </a:xfrm>
        </p:grpSpPr>
        <p:sp>
          <p:nvSpPr>
            <p:cNvPr id="26" name="Rectángulo 25"/>
            <p:cNvSpPr/>
            <p:nvPr/>
          </p:nvSpPr>
          <p:spPr>
            <a:xfrm>
              <a:off x="-13251" y="77511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6453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419" sz="3200" dirty="0" smtClean="0"/>
                <a:t>APP </a:t>
              </a:r>
              <a:r>
                <a:rPr lang="es-419" sz="3200" dirty="0" err="1" smtClean="0"/>
                <a:t>Rumichaca</a:t>
              </a:r>
              <a:r>
                <a:rPr lang="es-419" sz="3200" dirty="0" smtClean="0"/>
                <a:t> - Pasto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28739" y="1994197"/>
          <a:ext cx="3239249" cy="17300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4080510" y="3291839"/>
          <a:ext cx="4701271" cy="3051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11" name="Imagen 1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741495" y="2112926"/>
            <a:ext cx="3040286" cy="1344232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76218" y="3786641"/>
            <a:ext cx="1720242" cy="255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522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300102" y="249748"/>
            <a:ext cx="5033908" cy="653399"/>
          </a:xfrm>
          <a:prstGeom prst="rect">
            <a:avLst/>
          </a:prstGeom>
          <a:noFill/>
        </p:spPr>
        <p:txBody>
          <a:bodyPr wrap="none" lIns="84406" tIns="42203" rIns="84406" bIns="42203">
            <a:spAutoFit/>
          </a:bodyPr>
          <a:lstStyle/>
          <a:p>
            <a:pPr algn="ctr"/>
            <a:r>
              <a:rPr lang="es-ES" sz="3692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Modo Carretero</a:t>
            </a:r>
          </a:p>
        </p:txBody>
      </p:sp>
      <p:pic>
        <p:nvPicPr>
          <p:cNvPr id="3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2" cstate="print"/>
          <a:srcRect l="73616"/>
          <a:stretch>
            <a:fillRect/>
          </a:stretch>
        </p:blipFill>
        <p:spPr bwMode="auto">
          <a:xfrm>
            <a:off x="-14356" y="223569"/>
            <a:ext cx="1994068" cy="6370662"/>
          </a:xfrm>
          <a:prstGeom prst="rect">
            <a:avLst/>
          </a:prstGeom>
          <a:noFill/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57518" y="105554"/>
            <a:ext cx="1516303" cy="6255032"/>
          </a:xfrm>
          <a:prstGeom prst="rect">
            <a:avLst/>
          </a:prstGeom>
        </p:spPr>
      </p:pic>
      <p:grpSp>
        <p:nvGrpSpPr>
          <p:cNvPr id="7" name="Grupo 6"/>
          <p:cNvGrpSpPr/>
          <p:nvPr/>
        </p:nvGrpSpPr>
        <p:grpSpPr>
          <a:xfrm>
            <a:off x="2444995" y="929359"/>
            <a:ext cx="5595863" cy="704980"/>
            <a:chOff x="0" y="153170"/>
            <a:chExt cx="5102200" cy="921600"/>
          </a:xfrm>
        </p:grpSpPr>
        <p:sp>
          <p:nvSpPr>
            <p:cNvPr id="8" name="Rectángulo 7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ctángulo 8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0078" tIns="120044" rIns="210078" bIns="120044" numCol="1" spcCol="1270" anchor="ctr" anchorCtr="0">
              <a:noAutofit/>
            </a:bodyPr>
            <a:lstStyle/>
            <a:p>
              <a:pPr algn="ctr" defTabSz="131301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419" sz="2954" dirty="0" smtClean="0"/>
                <a:t>Santana – Mocoa - Neiva</a:t>
              </a:r>
              <a:endParaRPr lang="es-CO" sz="2954" dirty="0"/>
            </a:p>
          </p:txBody>
        </p:sp>
      </p:grpSp>
      <p:graphicFrame>
        <p:nvGraphicFramePr>
          <p:cNvPr id="10" name="Diagrama 9"/>
          <p:cNvGraphicFramePr/>
          <p:nvPr>
            <p:extLst/>
          </p:nvPr>
        </p:nvGraphicFramePr>
        <p:xfrm>
          <a:off x="2312057" y="1887576"/>
          <a:ext cx="2725226" cy="1674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1" name="Diagrama 10"/>
          <p:cNvGraphicFramePr/>
          <p:nvPr>
            <p:extLst/>
          </p:nvPr>
        </p:nvGraphicFramePr>
        <p:xfrm>
          <a:off x="4821913" y="3604287"/>
          <a:ext cx="4187542" cy="25796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4" name="Imagen 13"/>
          <p:cNvPicPr/>
          <p:nvPr/>
        </p:nvPicPr>
        <p:blipFill rotWithShape="1">
          <a:blip r:embed="rId14"/>
          <a:srcRect l="56178" t="31093" r="9198" b="10343"/>
          <a:stretch/>
        </p:blipFill>
        <p:spPr bwMode="auto">
          <a:xfrm>
            <a:off x="2124405" y="3604287"/>
            <a:ext cx="2531476" cy="229713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" name="Imagen 14"/>
          <p:cNvPicPr/>
          <p:nvPr/>
        </p:nvPicPr>
        <p:blipFill rotWithShape="1">
          <a:blip r:embed="rId15"/>
          <a:srcRect l="38854" t="60954" r="43524" b="18858"/>
          <a:stretch/>
        </p:blipFill>
        <p:spPr bwMode="auto">
          <a:xfrm>
            <a:off x="5391738" y="1678017"/>
            <a:ext cx="3112477" cy="20046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1359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228739" y="218758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835579" y="1172149"/>
            <a:ext cx="5831902" cy="759682"/>
            <a:chOff x="-13251" y="77511"/>
            <a:chExt cx="5115451" cy="921600"/>
          </a:xfrm>
        </p:grpSpPr>
        <p:sp>
          <p:nvSpPr>
            <p:cNvPr id="26" name="Rectángulo 25"/>
            <p:cNvSpPr/>
            <p:nvPr/>
          </p:nvSpPr>
          <p:spPr>
            <a:xfrm>
              <a:off x="-13251" y="77511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6453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419" sz="3200" dirty="0" smtClean="0"/>
                <a:t>APP </a:t>
              </a:r>
              <a:r>
                <a:rPr lang="es-419" sz="3200" dirty="0" err="1" smtClean="0"/>
                <a:t>Mulaló</a:t>
              </a:r>
              <a:r>
                <a:rPr lang="es-419" sz="3200" dirty="0" smtClean="0"/>
                <a:t> - Loboguerrero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28739" y="1994197"/>
          <a:ext cx="3239249" cy="19935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4768000" y="3426098"/>
          <a:ext cx="4074842" cy="3258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11" name="Imagen 10"/>
          <p:cNvPicPr/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50" t="6551" r="20097" b="12837"/>
          <a:stretch>
            <a:fillRect/>
          </a:stretch>
        </p:blipFill>
        <p:spPr bwMode="auto">
          <a:xfrm>
            <a:off x="5552039" y="1994197"/>
            <a:ext cx="3290803" cy="1369535"/>
          </a:xfrm>
          <a:prstGeom prst="rect">
            <a:avLst/>
          </a:prstGeom>
          <a:noFill/>
          <a:ln>
            <a:noFill/>
          </a:ln>
        </p:spPr>
      </p:pic>
      <p:pic>
        <p:nvPicPr>
          <p:cNvPr id="40971" name="Picture 11" descr="https://blu182.afx.ms/att/GetInline.aspx?messageid=9f695b0f-2846-11e6-aba9-002264c20336&amp;attindex=0&amp;cp=-1&amp;attdepth=0&amp;imgsrc=cid%3aimage002.jpg%4001D1BC29.78D4D470&amp;cid=1b80f5839ee16782&amp;hm__login=ingmffuentes&amp;hm__domain=hotmail.com&amp;ip=10.148.90.8&amp;d=d3658&amp;mf=0&amp;hm__ts=Wed%2c%2001%20Jun%202016%2022%3a17%3a36%20GMT&amp;st=misael_fdo&amp;hm__ha=01_053bc0f1b45bfb750b51bc460eabc8fa312d65754745817f3cc95e006b511841&amp;oneredir=1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740" y="4050089"/>
            <a:ext cx="2455210" cy="228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4813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dirty="0" smtClean="0"/>
                <a:t>Loboguerrero - Buga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338157" y="2498965"/>
          <a:ext cx="2880320" cy="2677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255843" y="3433075"/>
          <a:ext cx="3081533" cy="3279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11" name="Picture 5" descr="IMG_1830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8157" y="4803820"/>
            <a:ext cx="2837596" cy="1825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11" descr="C:\Users\mpardo\Pictures\De supervision bgl\16_31 marzo 2016\IMG_3277.JPG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5843" y="2540120"/>
            <a:ext cx="3081533" cy="10015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7248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573" y="1440208"/>
            <a:ext cx="5401449" cy="43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816176" y="1181326"/>
            <a:ext cx="5278378" cy="951532"/>
            <a:chOff x="-176178" y="168422"/>
            <a:chExt cx="5278378" cy="951532"/>
          </a:xfrm>
        </p:grpSpPr>
        <p:sp>
          <p:nvSpPr>
            <p:cNvPr id="26" name="Rectángulo 25"/>
            <p:cNvSpPr/>
            <p:nvPr/>
          </p:nvSpPr>
          <p:spPr>
            <a:xfrm>
              <a:off x="0" y="168422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-176178" y="198354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</a:t>
              </a:r>
              <a:r>
                <a:rPr lang="es-CO" sz="3200" dirty="0" smtClean="0"/>
                <a:t>DEVINORTE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317084" y="2157646"/>
          <a:ext cx="3509705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4546240" y="4199625"/>
          <a:ext cx="4481850" cy="1940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681782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Bogotá (Fontibón) – Facatativá – Los Alpes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99096" y="4319142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9588129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2800" kern="1200" dirty="0" smtClean="0"/>
                <a:t>Proyecto </a:t>
              </a:r>
              <a:r>
                <a:rPr lang="es-CO" sz="2800" dirty="0" smtClean="0"/>
                <a:t>Bogotá-Villavicencio </a:t>
              </a:r>
              <a:endParaRPr lang="es-CO" sz="28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12464" y="2540119"/>
          <a:ext cx="3750454" cy="2405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6101561" y="4435051"/>
          <a:ext cx="2939407" cy="18871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970251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255242" cy="1382268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“Área Metropolitana de Cúcuta y Norte de Santander”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338157" y="3000788"/>
          <a:ext cx="2880320" cy="238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835599" y="3457989"/>
          <a:ext cx="2880320" cy="2734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4005979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Girardot-</a:t>
              </a:r>
              <a:r>
                <a:rPr lang="es-CO" sz="3200" kern="1200" dirty="0" err="1" smtClean="0"/>
                <a:t>Ibague</a:t>
              </a:r>
              <a:r>
                <a:rPr lang="es-CO" sz="3200" kern="1200" dirty="0" smtClean="0"/>
                <a:t>-Cajamarca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457056" y="3245853"/>
          <a:ext cx="2880320" cy="2252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6490594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</a:t>
              </a:r>
              <a:r>
                <a:rPr lang="es-CO" sz="3200" dirty="0" smtClean="0"/>
                <a:t>Zipaquirá-Bucaramanga (Palenque)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385049" y="4465450"/>
          <a:ext cx="3648399" cy="20424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4100476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dirty="0" smtClean="0"/>
                <a:t>PERIMETRAL DE ORIENTE DE CUNDINAMARCA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8" y="2570625"/>
          <a:ext cx="2888153" cy="1564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86217" y="4473687"/>
          <a:ext cx="2955110" cy="1666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6596384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</a:t>
              </a:r>
              <a:r>
                <a:rPr lang="es-CO" sz="3200" dirty="0" smtClean="0"/>
                <a:t>IP GICA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98916" y="4384788"/>
          <a:ext cx="3087884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382364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</a:t>
              </a:r>
            </a:p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MALLA VIAL DEL META IP 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324709" y="2540120"/>
          <a:ext cx="3226086" cy="37400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847008" y="2692292"/>
          <a:ext cx="3070291" cy="3435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164466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238805" y="1247808"/>
            <a:ext cx="6694824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CHIRAJARA-FUNDADORES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38805" y="2230744"/>
          <a:ext cx="5205184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3129566" y="4308304"/>
          <a:ext cx="5804063" cy="2094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2520305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ANd9GcSn6SsfN0wpJ3Ic5uqInzC96o2CdasYpdBQwg3R6zdt74Oyc0EJ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2436236"/>
            <a:ext cx="3744416" cy="2759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n 18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040" y="2649822"/>
            <a:ext cx="3672408" cy="25640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Proyecto APP </a:t>
              </a:r>
              <a:r>
                <a:rPr lang="es-CO" sz="3200" dirty="0" smtClean="0"/>
                <a:t>Corredor Villavicencio - Yopal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Diagrama 10"/>
          <p:cNvGraphicFramePr/>
          <p:nvPr>
            <p:extLst/>
          </p:nvPr>
        </p:nvGraphicFramePr>
        <p:xfrm>
          <a:off x="5385049" y="4330944"/>
          <a:ext cx="3140765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2168117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1610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023035" y="1282003"/>
            <a:ext cx="5102200" cy="658642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2600" kern="1200" dirty="0" smtClean="0"/>
                <a:t>Proyecto TRANSVERSAL DEL SISGA</a:t>
              </a:r>
              <a:endParaRPr lang="es-CO" sz="26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96547" y="2036175"/>
          <a:ext cx="4662554" cy="2065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4155141" y="4262812"/>
          <a:ext cx="4789411" cy="2280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4146280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RUTA DEL SOL SECTOR 2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099578" y="2570625"/>
          <a:ext cx="3386822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385049" y="4473688"/>
          <a:ext cx="328923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318628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Girardot – Honda – Puerto Salgar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8" y="2570625"/>
          <a:ext cx="2955913" cy="23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820681" y="3958533"/>
          <a:ext cx="2880320" cy="23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1354567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es-CO" b="1" dirty="0" smtClean="0">
                  <a:solidFill>
                    <a:srgbClr val="FFFFFF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DESARROLLO </a:t>
              </a:r>
              <a:r>
                <a:rPr lang="en-US" altLang="es-CO" b="1" dirty="0">
                  <a:solidFill>
                    <a:srgbClr val="FFFFFF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VIAL DEL ORIENTE DE MEDELLIN Y VALLE DE </a:t>
              </a:r>
              <a:r>
                <a:rPr lang="en-US" altLang="es-CO" b="1" dirty="0" smtClean="0">
                  <a:solidFill>
                    <a:srgbClr val="FFFFFF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RIONEGRO</a:t>
              </a:r>
              <a:endParaRPr lang="en-US" altLang="es-CO" b="1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472072" y="2563586"/>
          <a:ext cx="2992558" cy="35767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86217" y="4023360"/>
          <a:ext cx="3296526" cy="2466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7691473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4" name="Grupo 23"/>
          <p:cNvGrpSpPr/>
          <p:nvPr/>
        </p:nvGrpSpPr>
        <p:grpSpPr>
          <a:xfrm>
            <a:off x="2717442" y="1402496"/>
            <a:ext cx="5596053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 smtClean="0"/>
                <a:t>BOGOTÁ - VILLETA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292762" y="2545404"/>
          <a:ext cx="3979250" cy="18591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048518" y="4404574"/>
          <a:ext cx="3928058" cy="1880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254171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</a:t>
              </a:r>
              <a:r>
                <a:rPr lang="es-CO" sz="3200" dirty="0"/>
                <a:t>Ruta del Sol Sector 3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3631841528"/>
              </p:ext>
            </p:extLst>
          </p:nvPr>
        </p:nvGraphicFramePr>
        <p:xfrm>
          <a:off x="2504729" y="2457464"/>
          <a:ext cx="3068234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153281179"/>
              </p:ext>
            </p:extLst>
          </p:nvPr>
        </p:nvGraphicFramePr>
        <p:xfrm>
          <a:off x="5762395" y="3998267"/>
          <a:ext cx="2866187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92144140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Ruta Caribe</a:t>
              </a:r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4038640440"/>
              </p:ext>
            </p:extLst>
          </p:nvPr>
        </p:nvGraphicFramePr>
        <p:xfrm>
          <a:off x="2444610" y="2752240"/>
          <a:ext cx="2880320" cy="24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3515870211"/>
              </p:ext>
            </p:extLst>
          </p:nvPr>
        </p:nvGraphicFramePr>
        <p:xfrm>
          <a:off x="5624852" y="3684380"/>
          <a:ext cx="2880320" cy="2456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28240275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Córdoba - Sucre</a:t>
              </a:r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2497100261"/>
              </p:ext>
            </p:extLst>
          </p:nvPr>
        </p:nvGraphicFramePr>
        <p:xfrm>
          <a:off x="2504729" y="2570624"/>
          <a:ext cx="2880320" cy="24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82713694"/>
              </p:ext>
            </p:extLst>
          </p:nvPr>
        </p:nvGraphicFramePr>
        <p:xfrm>
          <a:off x="5624853" y="3790251"/>
          <a:ext cx="2880320" cy="2456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93032067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Malla Vial del Valle del Cauca y Cauca</a:t>
              </a:r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879387500"/>
              </p:ext>
            </p:extLst>
          </p:nvPr>
        </p:nvGraphicFramePr>
        <p:xfrm>
          <a:off x="2514254" y="2884950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175014321"/>
              </p:ext>
            </p:extLst>
          </p:nvPr>
        </p:nvGraphicFramePr>
        <p:xfrm>
          <a:off x="5595742" y="3664063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52116765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074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7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7" name="Imagen 2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8" name="Rectángulo 27"/>
          <p:cNvSpPr/>
          <p:nvPr/>
        </p:nvSpPr>
        <p:spPr>
          <a:xfrm>
            <a:off x="2099578" y="396290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9" name="Grupo 28"/>
          <p:cNvGrpSpPr/>
          <p:nvPr/>
        </p:nvGrpSpPr>
        <p:grpSpPr>
          <a:xfrm>
            <a:off x="3211295" y="1365920"/>
            <a:ext cx="5102200" cy="921600"/>
            <a:chOff x="0" y="153170"/>
            <a:chExt cx="5102200" cy="921600"/>
          </a:xfrm>
        </p:grpSpPr>
        <p:sp>
          <p:nvSpPr>
            <p:cNvPr id="31" name="Rectángulo 30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ectángulo 3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Briceño – Tunja – Sogamoso </a:t>
              </a:r>
            </a:p>
          </p:txBody>
        </p:sp>
      </p:grpSp>
      <p:graphicFrame>
        <p:nvGraphicFramePr>
          <p:cNvPr id="38" name="Diagrama 37"/>
          <p:cNvGraphicFramePr/>
          <p:nvPr>
            <p:extLst>
              <p:ext uri="{D42A27DB-BD31-4B8C-83A1-F6EECF244321}">
                <p14:modId xmlns:p14="http://schemas.microsoft.com/office/powerpoint/2010/main" val="997092517"/>
              </p:ext>
            </p:extLst>
          </p:nvPr>
        </p:nvGraphicFramePr>
        <p:xfrm>
          <a:off x="2504729" y="2570625"/>
          <a:ext cx="2667346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40" name="Diagrama 39"/>
          <p:cNvGraphicFramePr/>
          <p:nvPr>
            <p:extLst>
              <p:ext uri="{D42A27DB-BD31-4B8C-83A1-F6EECF244321}">
                <p14:modId xmlns:p14="http://schemas.microsoft.com/office/powerpoint/2010/main" val="305549313"/>
              </p:ext>
            </p:extLst>
          </p:nvPr>
        </p:nvGraphicFramePr>
        <p:xfrm>
          <a:off x="5385049" y="4437112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1145713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1661142" y="262340"/>
            <a:ext cx="7220465" cy="748669"/>
          </a:xfrm>
        </p:spPr>
        <p:txBody>
          <a:bodyPr/>
          <a:lstStyle/>
          <a:p>
            <a:pPr algn="ctr"/>
            <a:r>
              <a:rPr lang="es-ES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vances 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2015 Popayán – </a:t>
            </a:r>
            <a:r>
              <a:rPr lang="es-ES" dirty="0" err="1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der</a:t>
            </a:r>
            <a:r>
              <a:rPr lang="es-ES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. de Quilichao</a:t>
            </a:r>
            <a:endParaRPr lang="es-CO" dirty="0"/>
          </a:p>
        </p:txBody>
      </p:sp>
      <p:pic>
        <p:nvPicPr>
          <p:cNvPr id="32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33" name="Imagen 3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34" name="CuadroTexto 33"/>
          <p:cNvSpPr txBox="1"/>
          <p:nvPr/>
        </p:nvSpPr>
        <p:spPr>
          <a:xfrm>
            <a:off x="2479589" y="1928248"/>
            <a:ext cx="64020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Se firmó Contrato de Concesión No.11 el 11 de agosto de 2015, se suscribió acta de inicio el 23 de septiembre de 2015. Se entregó la infraestructura vial al Concesionario el 1 de diciembre de 2015. Se realizaron los giros </a:t>
            </a:r>
            <a:r>
              <a:rPr lang="es-CO" dirty="0" err="1" smtClean="0"/>
              <a:t>equity</a:t>
            </a:r>
            <a:r>
              <a:rPr lang="es-CO" dirty="0" smtClean="0"/>
              <a:t> y fondeos correspondientes según lo establecido en el Contrato para firma del Acta de inicio. 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35659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206</TotalTime>
  <Words>2686</Words>
  <Application>Microsoft Office PowerPoint</Application>
  <PresentationFormat>Presentación en pantalla (4:3)</PresentationFormat>
  <Paragraphs>399</Paragraphs>
  <Slides>35</Slides>
  <Notes>33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44" baseType="lpstr">
      <vt:lpstr>MS PGothic</vt:lpstr>
      <vt:lpstr>Arial</vt:lpstr>
      <vt:lpstr>Calibri</vt:lpstr>
      <vt:lpstr>Candara</vt:lpstr>
      <vt:lpstr>Helvetica Neue Bold Condensed</vt:lpstr>
      <vt:lpstr>Impact</vt:lpstr>
      <vt:lpstr>Tahoma</vt:lpstr>
      <vt:lpstr>plantilla ANI</vt:lpstr>
      <vt:lpstr>think-cell Slide</vt:lpstr>
      <vt:lpstr>Avances Modo Carreter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vances 2015 Popayán – Sder. de Quilichao</vt:lpstr>
      <vt:lpstr>Avances 2015 Rumichaca Pasto</vt:lpstr>
      <vt:lpstr>Presentación de PowerPoint</vt:lpstr>
      <vt:lpstr>Avances 2015 Mulaló Loboguerrero</vt:lpstr>
      <vt:lpstr>Avances 2015 Loboguerrero Bug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31</cp:revision>
  <dcterms:created xsi:type="dcterms:W3CDTF">2015-06-23T21:46:26Z</dcterms:created>
  <dcterms:modified xsi:type="dcterms:W3CDTF">2016-06-09T21:23:12Z</dcterms:modified>
</cp:coreProperties>
</file>